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6"/>
  </p:notesMasterIdLst>
  <p:handoutMasterIdLst>
    <p:handoutMasterId r:id="rId27"/>
  </p:handoutMasterIdLst>
  <p:sldIdLst>
    <p:sldId id="265" r:id="rId6"/>
    <p:sldId id="282" r:id="rId7"/>
    <p:sldId id="288" r:id="rId8"/>
    <p:sldId id="287" r:id="rId9"/>
    <p:sldId id="286" r:id="rId10"/>
    <p:sldId id="279" r:id="rId11"/>
    <p:sldId id="285" r:id="rId12"/>
    <p:sldId id="289" r:id="rId13"/>
    <p:sldId id="291" r:id="rId14"/>
    <p:sldId id="292" r:id="rId15"/>
    <p:sldId id="294" r:id="rId16"/>
    <p:sldId id="301" r:id="rId17"/>
    <p:sldId id="298" r:id="rId18"/>
    <p:sldId id="299" r:id="rId19"/>
    <p:sldId id="271" r:id="rId20"/>
    <p:sldId id="278" r:id="rId21"/>
    <p:sldId id="277" r:id="rId22"/>
    <p:sldId id="280" r:id="rId23"/>
    <p:sldId id="300" r:id="rId24"/>
    <p:sldId id="297" r:id="rId25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6C807DBC-8C92-7C42-84D5-1C59FCFB9E44}">
          <p14:sldIdLst>
            <p14:sldId id="265"/>
            <p14:sldId id="282"/>
            <p14:sldId id="288"/>
            <p14:sldId id="287"/>
            <p14:sldId id="286"/>
            <p14:sldId id="279"/>
            <p14:sldId id="285"/>
            <p14:sldId id="289"/>
            <p14:sldId id="291"/>
            <p14:sldId id="292"/>
            <p14:sldId id="294"/>
            <p14:sldId id="301"/>
            <p14:sldId id="298"/>
            <p14:sldId id="299"/>
            <p14:sldId id="271"/>
            <p14:sldId id="278"/>
            <p14:sldId id="277"/>
            <p14:sldId id="280"/>
            <p14:sldId id="300"/>
            <p14:sldId id="297"/>
          </p14:sldIdLst>
        </p14:section>
        <p14:section name="Extra slide elements" id="{66EC97C3-BC0F-9648-AAE8-BA458CD3844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04">
          <p15:clr>
            <a:srgbClr val="A4A3A4"/>
          </p15:clr>
        </p15:guide>
        <p15:guide id="2" pos="3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E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2508" autoAdjust="0"/>
    <p:restoredTop sz="94672" autoAdjust="0"/>
  </p:normalViewPr>
  <p:slideViewPr>
    <p:cSldViewPr snapToGrid="0" snapToObjects="1">
      <p:cViewPr varScale="1">
        <p:scale>
          <a:sx n="134" d="100"/>
          <a:sy n="134" d="100"/>
        </p:scale>
        <p:origin x="1104" y="176"/>
      </p:cViewPr>
      <p:guideLst>
        <p:guide orient="horz" pos="1204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6" d="100"/>
        <a:sy n="106" d="100"/>
      </p:scale>
      <p:origin x="0" y="-1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43D5BA9-E93A-4BBD-B19A-BF440C1A4738}" type="doc">
      <dgm:prSet loTypeId="urn:microsoft.com/office/officeart/2005/8/layout/hierarchy4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GB"/>
        </a:p>
      </dgm:t>
    </dgm:pt>
    <dgm:pt modelId="{8C841684-8F65-400A-9BFB-346226EE4E05}">
      <dgm:prSet/>
      <dgm:spPr/>
      <dgm:t>
        <a:bodyPr/>
        <a:lstStyle/>
        <a:p>
          <a:pPr rtl="0"/>
          <a:r>
            <a:rPr lang="en-GB" dirty="0">
              <a:highlight>
                <a:srgbClr val="FF0000"/>
              </a:highlight>
            </a:rPr>
            <a:t>Improving Value</a:t>
          </a:r>
          <a:r>
            <a:rPr lang="en-GB" dirty="0"/>
            <a:t> in specialised commissioning aims to achieve measurable improvement in patient benefit or outcome whilst achieving a reduction in the cost of specialised services.  </a:t>
          </a:r>
        </a:p>
      </dgm:t>
    </dgm:pt>
    <dgm:pt modelId="{55A99385-E3CB-4C5B-ADC1-8AB399455AF5}" type="parTrans" cxnId="{514BF8DC-5C24-4B13-B916-760B3DF25C41}">
      <dgm:prSet/>
      <dgm:spPr/>
      <dgm:t>
        <a:bodyPr/>
        <a:lstStyle/>
        <a:p>
          <a:endParaRPr lang="en-GB"/>
        </a:p>
      </dgm:t>
    </dgm:pt>
    <dgm:pt modelId="{585EA802-D902-4513-8958-751AA2197AE5}" type="sibTrans" cxnId="{514BF8DC-5C24-4B13-B916-760B3DF25C41}">
      <dgm:prSet/>
      <dgm:spPr/>
      <dgm:t>
        <a:bodyPr/>
        <a:lstStyle/>
        <a:p>
          <a:endParaRPr lang="en-GB"/>
        </a:p>
      </dgm:t>
    </dgm:pt>
    <dgm:pt modelId="{0B17AB86-6EAE-4D84-8DE4-1FC2D546A52C}">
      <dgm:prSet/>
      <dgm:spPr/>
      <dgm:t>
        <a:bodyPr/>
        <a:lstStyle/>
        <a:p>
          <a:pPr rtl="0"/>
          <a:r>
            <a:rPr lang="en-GB" dirty="0"/>
            <a:t>Changing how specialised services are delivered</a:t>
          </a:r>
        </a:p>
      </dgm:t>
    </dgm:pt>
    <dgm:pt modelId="{D3B25C81-46AB-460C-AE37-15ECE1536C17}" type="parTrans" cxnId="{ECDF574D-F10B-4418-A256-A50A4AF78CE8}">
      <dgm:prSet/>
      <dgm:spPr/>
      <dgm:t>
        <a:bodyPr/>
        <a:lstStyle/>
        <a:p>
          <a:endParaRPr lang="en-GB"/>
        </a:p>
      </dgm:t>
    </dgm:pt>
    <dgm:pt modelId="{D491293E-4AD8-4C10-9DFF-6628BF6CD9AA}" type="sibTrans" cxnId="{ECDF574D-F10B-4418-A256-A50A4AF78CE8}">
      <dgm:prSet/>
      <dgm:spPr/>
      <dgm:t>
        <a:bodyPr/>
        <a:lstStyle/>
        <a:p>
          <a:endParaRPr lang="en-GB"/>
        </a:p>
      </dgm:t>
    </dgm:pt>
    <dgm:pt modelId="{52919FE5-93BE-48F5-AACB-485254727D6D}">
      <dgm:prSet/>
      <dgm:spPr/>
      <dgm:t>
        <a:bodyPr/>
        <a:lstStyle/>
        <a:p>
          <a:pPr rtl="0"/>
          <a:r>
            <a:rPr lang="en-GB" dirty="0"/>
            <a:t>Changing how we transact for specialised services </a:t>
          </a:r>
        </a:p>
      </dgm:t>
    </dgm:pt>
    <dgm:pt modelId="{AEC9AF4D-1B1A-457C-93E9-FD3896A0FB70}" type="parTrans" cxnId="{154425CF-57FF-4291-A764-CC256EBAFCA2}">
      <dgm:prSet/>
      <dgm:spPr/>
      <dgm:t>
        <a:bodyPr/>
        <a:lstStyle/>
        <a:p>
          <a:endParaRPr lang="en-GB"/>
        </a:p>
      </dgm:t>
    </dgm:pt>
    <dgm:pt modelId="{BF986A24-0028-4D18-9EE2-908560AA9F37}" type="sibTrans" cxnId="{154425CF-57FF-4291-A764-CC256EBAFCA2}">
      <dgm:prSet/>
      <dgm:spPr/>
      <dgm:t>
        <a:bodyPr/>
        <a:lstStyle/>
        <a:p>
          <a:endParaRPr lang="en-GB"/>
        </a:p>
      </dgm:t>
    </dgm:pt>
    <dgm:pt modelId="{7EBFDE24-8E34-462A-9195-5665F8B10047}">
      <dgm:prSet/>
      <dgm:spPr/>
      <dgm:t>
        <a:bodyPr/>
        <a:lstStyle/>
        <a:p>
          <a:pPr rtl="0"/>
          <a:r>
            <a:rPr lang="en-GB" dirty="0">
              <a:highlight>
                <a:srgbClr val="FF0000"/>
              </a:highlight>
            </a:rPr>
            <a:t>Reducing demand for specialised services</a:t>
          </a:r>
        </a:p>
      </dgm:t>
    </dgm:pt>
    <dgm:pt modelId="{C3B66C32-1771-4212-B5CA-080768A8A7F2}" type="parTrans" cxnId="{FE00BB9B-8D12-41B0-AE65-631CC65C4571}">
      <dgm:prSet/>
      <dgm:spPr/>
      <dgm:t>
        <a:bodyPr/>
        <a:lstStyle/>
        <a:p>
          <a:endParaRPr lang="en-GB"/>
        </a:p>
      </dgm:t>
    </dgm:pt>
    <dgm:pt modelId="{3CA0E148-EA25-4695-B66D-02E2FA6E2918}" type="sibTrans" cxnId="{FE00BB9B-8D12-41B0-AE65-631CC65C4571}">
      <dgm:prSet/>
      <dgm:spPr/>
      <dgm:t>
        <a:bodyPr/>
        <a:lstStyle/>
        <a:p>
          <a:endParaRPr lang="en-GB"/>
        </a:p>
      </dgm:t>
    </dgm:pt>
    <dgm:pt modelId="{D1208CBB-A7AD-4E0F-AC75-89FE07CA8487}" type="pres">
      <dgm:prSet presAssocID="{943D5BA9-E93A-4BBD-B19A-BF440C1A4738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8548BDD-A26C-432E-8D63-5C3968077DE2}" type="pres">
      <dgm:prSet presAssocID="{8C841684-8F65-400A-9BFB-346226EE4E05}" presName="vertOne" presStyleCnt="0"/>
      <dgm:spPr/>
    </dgm:pt>
    <dgm:pt modelId="{143F2B79-5D95-417D-B4E3-75C0DA7D9F55}" type="pres">
      <dgm:prSet presAssocID="{8C841684-8F65-400A-9BFB-346226EE4E05}" presName="txOne" presStyleLbl="node0" presStyleIdx="0" presStyleCnt="1">
        <dgm:presLayoutVars>
          <dgm:chPref val="3"/>
        </dgm:presLayoutVars>
      </dgm:prSet>
      <dgm:spPr/>
    </dgm:pt>
    <dgm:pt modelId="{88F9029A-BBC4-41A4-95EB-581D05A62CB4}" type="pres">
      <dgm:prSet presAssocID="{8C841684-8F65-400A-9BFB-346226EE4E05}" presName="parTransOne" presStyleCnt="0"/>
      <dgm:spPr/>
    </dgm:pt>
    <dgm:pt modelId="{40AC94C9-1309-4178-A9E7-A5305652D837}" type="pres">
      <dgm:prSet presAssocID="{8C841684-8F65-400A-9BFB-346226EE4E05}" presName="horzOne" presStyleCnt="0"/>
      <dgm:spPr/>
    </dgm:pt>
    <dgm:pt modelId="{FC01D1DF-4A30-4A16-BCBC-23E67B4411F4}" type="pres">
      <dgm:prSet presAssocID="{7EBFDE24-8E34-462A-9195-5665F8B10047}" presName="vertTwo" presStyleCnt="0"/>
      <dgm:spPr/>
    </dgm:pt>
    <dgm:pt modelId="{752E8ADE-2813-4FA1-B92C-3CF077D4EEE8}" type="pres">
      <dgm:prSet presAssocID="{7EBFDE24-8E34-462A-9195-5665F8B10047}" presName="txTwo" presStyleLbl="node2" presStyleIdx="0" presStyleCnt="3">
        <dgm:presLayoutVars>
          <dgm:chPref val="3"/>
        </dgm:presLayoutVars>
      </dgm:prSet>
      <dgm:spPr/>
    </dgm:pt>
    <dgm:pt modelId="{A2F14672-9B80-4402-8ABF-84EE94A800D4}" type="pres">
      <dgm:prSet presAssocID="{7EBFDE24-8E34-462A-9195-5665F8B10047}" presName="horzTwo" presStyleCnt="0"/>
      <dgm:spPr/>
    </dgm:pt>
    <dgm:pt modelId="{44578D5E-B071-4BAA-BC87-70B94893BEBC}" type="pres">
      <dgm:prSet presAssocID="{3CA0E148-EA25-4695-B66D-02E2FA6E2918}" presName="sibSpaceTwo" presStyleCnt="0"/>
      <dgm:spPr/>
    </dgm:pt>
    <dgm:pt modelId="{58CFE6B3-6B66-4376-A113-8908288BA8D4}" type="pres">
      <dgm:prSet presAssocID="{0B17AB86-6EAE-4D84-8DE4-1FC2D546A52C}" presName="vertTwo" presStyleCnt="0"/>
      <dgm:spPr/>
    </dgm:pt>
    <dgm:pt modelId="{28128983-B44D-45A2-87C2-01F5F94EA434}" type="pres">
      <dgm:prSet presAssocID="{0B17AB86-6EAE-4D84-8DE4-1FC2D546A52C}" presName="txTwo" presStyleLbl="node2" presStyleIdx="1" presStyleCnt="3">
        <dgm:presLayoutVars>
          <dgm:chPref val="3"/>
        </dgm:presLayoutVars>
      </dgm:prSet>
      <dgm:spPr/>
    </dgm:pt>
    <dgm:pt modelId="{61E191BB-D529-4689-854D-645EFFD74712}" type="pres">
      <dgm:prSet presAssocID="{0B17AB86-6EAE-4D84-8DE4-1FC2D546A52C}" presName="horzTwo" presStyleCnt="0"/>
      <dgm:spPr/>
    </dgm:pt>
    <dgm:pt modelId="{6A718E9F-74F5-4035-8062-827BBEA0BF11}" type="pres">
      <dgm:prSet presAssocID="{D491293E-4AD8-4C10-9DFF-6628BF6CD9AA}" presName="sibSpaceTwo" presStyleCnt="0"/>
      <dgm:spPr/>
    </dgm:pt>
    <dgm:pt modelId="{403375E9-E931-4924-9E95-952142C714C6}" type="pres">
      <dgm:prSet presAssocID="{52919FE5-93BE-48F5-AACB-485254727D6D}" presName="vertTwo" presStyleCnt="0"/>
      <dgm:spPr/>
    </dgm:pt>
    <dgm:pt modelId="{8CBD8191-FE9D-4932-8769-3A6288B7ECBA}" type="pres">
      <dgm:prSet presAssocID="{52919FE5-93BE-48F5-AACB-485254727D6D}" presName="txTwo" presStyleLbl="node2" presStyleIdx="2" presStyleCnt="3">
        <dgm:presLayoutVars>
          <dgm:chPref val="3"/>
        </dgm:presLayoutVars>
      </dgm:prSet>
      <dgm:spPr/>
    </dgm:pt>
    <dgm:pt modelId="{C67BAA20-2297-4E3D-BECC-B39BC274E67F}" type="pres">
      <dgm:prSet presAssocID="{52919FE5-93BE-48F5-AACB-485254727D6D}" presName="horzTwo" presStyleCnt="0"/>
      <dgm:spPr/>
    </dgm:pt>
  </dgm:ptLst>
  <dgm:cxnLst>
    <dgm:cxn modelId="{013E0E17-8FE9-49B2-A653-D9D90147CE48}" type="presOf" srcId="{7EBFDE24-8E34-462A-9195-5665F8B10047}" destId="{752E8ADE-2813-4FA1-B92C-3CF077D4EEE8}" srcOrd="0" destOrd="0" presId="urn:microsoft.com/office/officeart/2005/8/layout/hierarchy4"/>
    <dgm:cxn modelId="{C0725537-8C08-476A-B1D8-C023D2974E14}" type="presOf" srcId="{52919FE5-93BE-48F5-AACB-485254727D6D}" destId="{8CBD8191-FE9D-4932-8769-3A6288B7ECBA}" srcOrd="0" destOrd="0" presId="urn:microsoft.com/office/officeart/2005/8/layout/hierarchy4"/>
    <dgm:cxn modelId="{ECDF574D-F10B-4418-A256-A50A4AF78CE8}" srcId="{8C841684-8F65-400A-9BFB-346226EE4E05}" destId="{0B17AB86-6EAE-4D84-8DE4-1FC2D546A52C}" srcOrd="1" destOrd="0" parTransId="{D3B25C81-46AB-460C-AE37-15ECE1536C17}" sibTransId="{D491293E-4AD8-4C10-9DFF-6628BF6CD9AA}"/>
    <dgm:cxn modelId="{FAC5167A-3923-425E-9C44-D8EA225D6A40}" type="presOf" srcId="{0B17AB86-6EAE-4D84-8DE4-1FC2D546A52C}" destId="{28128983-B44D-45A2-87C2-01F5F94EA434}" srcOrd="0" destOrd="0" presId="urn:microsoft.com/office/officeart/2005/8/layout/hierarchy4"/>
    <dgm:cxn modelId="{82AC4A8B-EE76-4B51-A8B6-7674EC93F0FA}" type="presOf" srcId="{943D5BA9-E93A-4BBD-B19A-BF440C1A4738}" destId="{D1208CBB-A7AD-4E0F-AC75-89FE07CA8487}" srcOrd="0" destOrd="0" presId="urn:microsoft.com/office/officeart/2005/8/layout/hierarchy4"/>
    <dgm:cxn modelId="{FE00BB9B-8D12-41B0-AE65-631CC65C4571}" srcId="{8C841684-8F65-400A-9BFB-346226EE4E05}" destId="{7EBFDE24-8E34-462A-9195-5665F8B10047}" srcOrd="0" destOrd="0" parTransId="{C3B66C32-1771-4212-B5CA-080768A8A7F2}" sibTransId="{3CA0E148-EA25-4695-B66D-02E2FA6E2918}"/>
    <dgm:cxn modelId="{154425CF-57FF-4291-A764-CC256EBAFCA2}" srcId="{8C841684-8F65-400A-9BFB-346226EE4E05}" destId="{52919FE5-93BE-48F5-AACB-485254727D6D}" srcOrd="2" destOrd="0" parTransId="{AEC9AF4D-1B1A-457C-93E9-FD3896A0FB70}" sibTransId="{BF986A24-0028-4D18-9EE2-908560AA9F37}"/>
    <dgm:cxn modelId="{514BF8DC-5C24-4B13-B916-760B3DF25C41}" srcId="{943D5BA9-E93A-4BBD-B19A-BF440C1A4738}" destId="{8C841684-8F65-400A-9BFB-346226EE4E05}" srcOrd="0" destOrd="0" parTransId="{55A99385-E3CB-4C5B-ADC1-8AB399455AF5}" sibTransId="{585EA802-D902-4513-8958-751AA2197AE5}"/>
    <dgm:cxn modelId="{552D84E7-5AB0-41EC-83E5-6105799BDC7C}" type="presOf" srcId="{8C841684-8F65-400A-9BFB-346226EE4E05}" destId="{143F2B79-5D95-417D-B4E3-75C0DA7D9F55}" srcOrd="0" destOrd="0" presId="urn:microsoft.com/office/officeart/2005/8/layout/hierarchy4"/>
    <dgm:cxn modelId="{B1D56CBD-BA6F-43E6-8C91-B49FB454C6EB}" type="presParOf" srcId="{D1208CBB-A7AD-4E0F-AC75-89FE07CA8487}" destId="{98548BDD-A26C-432E-8D63-5C3968077DE2}" srcOrd="0" destOrd="0" presId="urn:microsoft.com/office/officeart/2005/8/layout/hierarchy4"/>
    <dgm:cxn modelId="{2AB3E7AE-6035-4B16-A78D-AE0B45722066}" type="presParOf" srcId="{98548BDD-A26C-432E-8D63-5C3968077DE2}" destId="{143F2B79-5D95-417D-B4E3-75C0DA7D9F55}" srcOrd="0" destOrd="0" presId="urn:microsoft.com/office/officeart/2005/8/layout/hierarchy4"/>
    <dgm:cxn modelId="{3A0C1CAD-DE69-4701-AFB2-5D9383805851}" type="presParOf" srcId="{98548BDD-A26C-432E-8D63-5C3968077DE2}" destId="{88F9029A-BBC4-41A4-95EB-581D05A62CB4}" srcOrd="1" destOrd="0" presId="urn:microsoft.com/office/officeart/2005/8/layout/hierarchy4"/>
    <dgm:cxn modelId="{42A828B8-0CE3-463A-B24F-F0CC64D7E079}" type="presParOf" srcId="{98548BDD-A26C-432E-8D63-5C3968077DE2}" destId="{40AC94C9-1309-4178-A9E7-A5305652D837}" srcOrd="2" destOrd="0" presId="urn:microsoft.com/office/officeart/2005/8/layout/hierarchy4"/>
    <dgm:cxn modelId="{BF8BB56C-26FF-40A4-A995-51AD2C54FCCF}" type="presParOf" srcId="{40AC94C9-1309-4178-A9E7-A5305652D837}" destId="{FC01D1DF-4A30-4A16-BCBC-23E67B4411F4}" srcOrd="0" destOrd="0" presId="urn:microsoft.com/office/officeart/2005/8/layout/hierarchy4"/>
    <dgm:cxn modelId="{D817C470-7C27-4048-9ADD-8703133BA161}" type="presParOf" srcId="{FC01D1DF-4A30-4A16-BCBC-23E67B4411F4}" destId="{752E8ADE-2813-4FA1-B92C-3CF077D4EEE8}" srcOrd="0" destOrd="0" presId="urn:microsoft.com/office/officeart/2005/8/layout/hierarchy4"/>
    <dgm:cxn modelId="{1B914F44-5301-4BDE-8EF2-FFA5DF2EE331}" type="presParOf" srcId="{FC01D1DF-4A30-4A16-BCBC-23E67B4411F4}" destId="{A2F14672-9B80-4402-8ABF-84EE94A800D4}" srcOrd="1" destOrd="0" presId="urn:microsoft.com/office/officeart/2005/8/layout/hierarchy4"/>
    <dgm:cxn modelId="{85F2B7F3-558C-4F39-856E-E810E12F51A5}" type="presParOf" srcId="{40AC94C9-1309-4178-A9E7-A5305652D837}" destId="{44578D5E-B071-4BAA-BC87-70B94893BEBC}" srcOrd="1" destOrd="0" presId="urn:microsoft.com/office/officeart/2005/8/layout/hierarchy4"/>
    <dgm:cxn modelId="{D968F7D6-495A-4752-8757-FF31A6568A88}" type="presParOf" srcId="{40AC94C9-1309-4178-A9E7-A5305652D837}" destId="{58CFE6B3-6B66-4376-A113-8908288BA8D4}" srcOrd="2" destOrd="0" presId="urn:microsoft.com/office/officeart/2005/8/layout/hierarchy4"/>
    <dgm:cxn modelId="{964FA178-31A4-4B35-B318-863969B8559D}" type="presParOf" srcId="{58CFE6B3-6B66-4376-A113-8908288BA8D4}" destId="{28128983-B44D-45A2-87C2-01F5F94EA434}" srcOrd="0" destOrd="0" presId="urn:microsoft.com/office/officeart/2005/8/layout/hierarchy4"/>
    <dgm:cxn modelId="{08F9F6CC-CAF3-42E1-8D04-E21CED1B5CD8}" type="presParOf" srcId="{58CFE6B3-6B66-4376-A113-8908288BA8D4}" destId="{61E191BB-D529-4689-854D-645EFFD74712}" srcOrd="1" destOrd="0" presId="urn:microsoft.com/office/officeart/2005/8/layout/hierarchy4"/>
    <dgm:cxn modelId="{CF289EFF-B398-4ACD-B609-EF9842C93E47}" type="presParOf" srcId="{40AC94C9-1309-4178-A9E7-A5305652D837}" destId="{6A718E9F-74F5-4035-8062-827BBEA0BF11}" srcOrd="3" destOrd="0" presId="urn:microsoft.com/office/officeart/2005/8/layout/hierarchy4"/>
    <dgm:cxn modelId="{05D956B5-6733-41E2-A919-6E361ABEE0E5}" type="presParOf" srcId="{40AC94C9-1309-4178-A9E7-A5305652D837}" destId="{403375E9-E931-4924-9E95-952142C714C6}" srcOrd="4" destOrd="0" presId="urn:microsoft.com/office/officeart/2005/8/layout/hierarchy4"/>
    <dgm:cxn modelId="{A4D26AAB-2FFB-4F4F-8AE2-89B3AD5A6571}" type="presParOf" srcId="{403375E9-E931-4924-9E95-952142C714C6}" destId="{8CBD8191-FE9D-4932-8769-3A6288B7ECBA}" srcOrd="0" destOrd="0" presId="urn:microsoft.com/office/officeart/2005/8/layout/hierarchy4"/>
    <dgm:cxn modelId="{E3C69171-C1F9-4C43-BB9F-3A36AD5EE64E}" type="presParOf" srcId="{403375E9-E931-4924-9E95-952142C714C6}" destId="{C67BAA20-2297-4E3D-BECC-B39BC274E67F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3F2B79-5D95-417D-B4E3-75C0DA7D9F55}">
      <dsp:nvSpPr>
        <dsp:cNvPr id="0" name=""/>
        <dsp:cNvSpPr/>
      </dsp:nvSpPr>
      <dsp:spPr>
        <a:xfrm>
          <a:off x="1783" y="855"/>
          <a:ext cx="4958544" cy="98975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>
              <a:highlight>
                <a:srgbClr val="FF0000"/>
              </a:highlight>
            </a:rPr>
            <a:t>Improving Value</a:t>
          </a:r>
          <a:r>
            <a:rPr lang="en-GB" sz="1500" kern="1200" dirty="0"/>
            <a:t> in specialised commissioning aims to achieve measurable improvement in patient benefit or outcome whilst achieving a reduction in the cost of specialised services.  </a:t>
          </a:r>
        </a:p>
      </dsp:txBody>
      <dsp:txXfrm>
        <a:off x="30772" y="29844"/>
        <a:ext cx="4900566" cy="931776"/>
      </dsp:txXfrm>
    </dsp:sp>
    <dsp:sp modelId="{752E8ADE-2813-4FA1-B92C-3CF077D4EEE8}">
      <dsp:nvSpPr>
        <dsp:cNvPr id="0" name=""/>
        <dsp:cNvSpPr/>
      </dsp:nvSpPr>
      <dsp:spPr>
        <a:xfrm>
          <a:off x="1783" y="1120866"/>
          <a:ext cx="1565197" cy="98975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>
              <a:highlight>
                <a:srgbClr val="FF0000"/>
              </a:highlight>
            </a:rPr>
            <a:t>Reducing demand for specialised services</a:t>
          </a:r>
        </a:p>
      </dsp:txBody>
      <dsp:txXfrm>
        <a:off x="30772" y="1149855"/>
        <a:ext cx="1507219" cy="931776"/>
      </dsp:txXfrm>
    </dsp:sp>
    <dsp:sp modelId="{28128983-B44D-45A2-87C2-01F5F94EA434}">
      <dsp:nvSpPr>
        <dsp:cNvPr id="0" name=""/>
        <dsp:cNvSpPr/>
      </dsp:nvSpPr>
      <dsp:spPr>
        <a:xfrm>
          <a:off x="1698456" y="1120866"/>
          <a:ext cx="1565197" cy="98975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Changing how specialised services are delivered</a:t>
          </a:r>
        </a:p>
      </dsp:txBody>
      <dsp:txXfrm>
        <a:off x="1727445" y="1149855"/>
        <a:ext cx="1507219" cy="931776"/>
      </dsp:txXfrm>
    </dsp:sp>
    <dsp:sp modelId="{8CBD8191-FE9D-4932-8769-3A6288B7ECBA}">
      <dsp:nvSpPr>
        <dsp:cNvPr id="0" name=""/>
        <dsp:cNvSpPr/>
      </dsp:nvSpPr>
      <dsp:spPr>
        <a:xfrm>
          <a:off x="3395130" y="1120866"/>
          <a:ext cx="1565197" cy="98975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/>
            <a:t>Changing how we transact for specialised services </a:t>
          </a:r>
        </a:p>
      </dsp:txBody>
      <dsp:txXfrm>
        <a:off x="3424119" y="1149855"/>
        <a:ext cx="1507219" cy="9317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91D71F-2657-BF40-9BA8-1341E8D62F20}" type="datetime1">
              <a:rPr lang="en-GB" smtClean="0"/>
              <a:t>17/0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7828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7828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5EE869-81EB-AC4C-B612-80DE4181CD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458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A70F4-2FAD-3E41-BF6C-C5B1EEDE06E7}" type="datetime1">
              <a:rPr lang="en-GB" smtClean="0"/>
              <a:t>17/0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714"/>
            <a:ext cx="5438775" cy="446690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7828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7828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57A7B8-EAD2-9846-9761-91C91B5D58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24081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1403" y="5304977"/>
            <a:ext cx="5133518" cy="251159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735003" y="9493393"/>
            <a:ext cx="169919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5537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57A7B8-EAD2-9846-9761-91C91B5D58B6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099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826" y="1402939"/>
            <a:ext cx="8286174" cy="3622520"/>
          </a:xfrm>
        </p:spPr>
        <p:txBody>
          <a:bodyPr anchor="t">
            <a:noAutofit/>
          </a:bodyPr>
          <a:lstStyle>
            <a:lvl1pPr>
              <a:defRPr sz="80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0" hasCustomPrompt="1"/>
          </p:nvPr>
        </p:nvSpPr>
        <p:spPr>
          <a:xfrm>
            <a:off x="457200" y="5025459"/>
            <a:ext cx="6812020" cy="95992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800">
                <a:solidFill>
                  <a:srgbClr val="00ADC6"/>
                </a:solidFill>
              </a:defRPr>
            </a:lvl1pPr>
          </a:lstStyle>
          <a:p>
            <a:pPr lvl="0"/>
            <a:r>
              <a:rPr lang="en-US" dirty="0"/>
              <a:t>Sub heading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57200" y="6459741"/>
            <a:ext cx="1819905" cy="24087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19"/>
          <p:cNvSpPr>
            <a:spLocks noGrp="1"/>
          </p:cNvSpPr>
          <p:nvPr>
            <p:ph sz="quarter" idx="11" hasCustomPrompt="1"/>
          </p:nvPr>
        </p:nvSpPr>
        <p:spPr>
          <a:xfrm>
            <a:off x="457200" y="5985383"/>
            <a:ext cx="4359965" cy="361031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600">
                <a:solidFill>
                  <a:srgbClr val="00ADC6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8077" y="5517237"/>
            <a:ext cx="1222923" cy="95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385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-a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8766" y="279908"/>
            <a:ext cx="816864" cy="509016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E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Content Placeholder 19"/>
          <p:cNvSpPr>
            <a:spLocks noGrp="1"/>
          </p:cNvSpPr>
          <p:nvPr>
            <p:ph sz="quarter" idx="10" hasCustomPrompt="1"/>
          </p:nvPr>
        </p:nvSpPr>
        <p:spPr>
          <a:xfrm>
            <a:off x="457200" y="5025459"/>
            <a:ext cx="6812020" cy="95992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 heading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74826" y="1402939"/>
            <a:ext cx="8286174" cy="3622520"/>
          </a:xfrm>
        </p:spPr>
        <p:txBody>
          <a:bodyPr anchor="t">
            <a:noAutofit/>
          </a:bodyPr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9" name="Date Placeholder 3"/>
          <p:cNvSpPr txBox="1">
            <a:spLocks/>
          </p:cNvSpPr>
          <p:nvPr userDrawn="1"/>
        </p:nvSpPr>
        <p:spPr>
          <a:xfrm>
            <a:off x="457200" y="598538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8077" y="5517237"/>
            <a:ext cx="1222923" cy="956325"/>
          </a:xfrm>
          <a:prstGeom prst="rect">
            <a:avLst/>
          </a:prstGeom>
        </p:spPr>
      </p:pic>
      <p:sp>
        <p:nvSpPr>
          <p:cNvPr id="10" name="Content Placeholder 19"/>
          <p:cNvSpPr>
            <a:spLocks noGrp="1"/>
          </p:cNvSpPr>
          <p:nvPr>
            <p:ph sz="quarter" idx="11" hasCustomPrompt="1"/>
          </p:nvPr>
        </p:nvSpPr>
        <p:spPr>
          <a:xfrm>
            <a:off x="457200" y="5985383"/>
            <a:ext cx="4359965" cy="361031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032" y="288437"/>
            <a:ext cx="1110549" cy="8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491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Untitled-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912" y="5487584"/>
            <a:ext cx="918569" cy="1003622"/>
          </a:xfrm>
          <a:prstGeom prst="rect">
            <a:avLst/>
          </a:prstGeom>
        </p:spPr>
      </p:pic>
      <p:sp>
        <p:nvSpPr>
          <p:cNvPr id="8" name="Content Placeholder 19"/>
          <p:cNvSpPr>
            <a:spLocks noGrp="1"/>
          </p:cNvSpPr>
          <p:nvPr>
            <p:ph sz="quarter" idx="10" hasCustomPrompt="1"/>
          </p:nvPr>
        </p:nvSpPr>
        <p:spPr>
          <a:xfrm>
            <a:off x="609600" y="4413336"/>
            <a:ext cx="6812020" cy="51401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2" name="Content Placeholder 19"/>
          <p:cNvSpPr>
            <a:spLocks noGrp="1"/>
          </p:cNvSpPr>
          <p:nvPr>
            <p:ph sz="quarter" idx="11" hasCustomPrompt="1"/>
          </p:nvPr>
        </p:nvSpPr>
        <p:spPr>
          <a:xfrm>
            <a:off x="609600" y="1837997"/>
            <a:ext cx="7111312" cy="244687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sz="3600" b="0" dirty="0">
                <a:solidFill>
                  <a:schemeClr val="bg1"/>
                </a:solidFill>
                <a:latin typeface="+mn-lt"/>
                <a:cs typeface="Arial"/>
              </a:rPr>
              <a:t>“You can use this slide to pull out a quote. Use point size 36.”</a:t>
            </a:r>
            <a:endParaRPr lang="en-US" sz="3600" b="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032" y="288437"/>
            <a:ext cx="1110549" cy="87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52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D66C4C68-9C76-5449-BBA0-107A51179E1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1" y="749912"/>
            <a:ext cx="7356815" cy="6677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8077" y="5517237"/>
            <a:ext cx="1222923" cy="95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180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no arrow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DE7D0A-5CC0-CD4F-AD63-02ED5F8284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80295"/>
            <a:ext cx="7841707" cy="3950736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361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2C8F3B-A233-480C-83E1-7C6B8F8C54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3254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07B065A-D3F3-417F-AA0D-AC25077B6977}" type="datetimeFigureOut">
              <a:rPr lang="en-GB" smtClean="0"/>
              <a:t>17/06/2021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804B7-ADC0-4C9A-ADCA-06DA744F6B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8522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80295"/>
            <a:ext cx="7841707" cy="39507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fld id="{61E112CC-F5C7-5E43-8EAA-F554FEB5E4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Date Placeholder 3"/>
          <p:cNvSpPr txBox="1">
            <a:spLocks/>
          </p:cNvSpPr>
          <p:nvPr userDrawn="1"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sz="1200" b="0" i="0" u="none" strike="noStrike" kern="1200" baseline="0" dirty="0" err="1">
                <a:solidFill>
                  <a:schemeClr val="tx1"/>
                </a:solidFill>
                <a:latin typeface="Arial"/>
                <a:ea typeface="+mn-ea"/>
                <a:cs typeface="Arial"/>
              </a:rPr>
              <a:t>www.england.nhs.uk</a:t>
            </a:r>
            <a:endParaRPr lang="en-GB" sz="1200" b="0" i="0" u="none" strike="noStrike" kern="1200" baseline="0" dirty="0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6" name="Title Placeholder 1"/>
          <p:cNvSpPr>
            <a:spLocks noGrp="1"/>
          </p:cNvSpPr>
          <p:nvPr>
            <p:ph type="title"/>
          </p:nvPr>
        </p:nvSpPr>
        <p:spPr>
          <a:xfrm>
            <a:off x="457201" y="749912"/>
            <a:ext cx="7376429" cy="6677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sz="3600" b="1" dirty="0">
                <a:solidFill>
                  <a:schemeClr val="tx2"/>
                </a:solidFill>
                <a:latin typeface="+mj-lt"/>
                <a:cs typeface="Arial"/>
              </a:rPr>
              <a:t>Click</a:t>
            </a:r>
            <a:r>
              <a:rPr lang="en-GB" sz="3600" b="1" baseline="0" dirty="0">
                <a:solidFill>
                  <a:schemeClr val="tx2"/>
                </a:solidFill>
                <a:latin typeface="+mj-lt"/>
                <a:cs typeface="Arial"/>
              </a:rPr>
              <a:t> to edit the master title style</a:t>
            </a:r>
            <a:endParaRPr lang="en-GB" sz="3600" b="1" dirty="0">
              <a:solidFill>
                <a:schemeClr val="tx2"/>
              </a:solidFill>
              <a:latin typeface="+mj-lt"/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3630" y="371210"/>
            <a:ext cx="927657" cy="718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189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3" r:id="rId2"/>
    <p:sldLayoutId id="2147483680" r:id="rId3"/>
    <p:sldLayoutId id="2147483650" r:id="rId4"/>
    <p:sldLayoutId id="2147483678" r:id="rId5"/>
    <p:sldLayoutId id="2147483681" r:id="rId6"/>
    <p:sldLayoutId id="2147483682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lang="en-GB" sz="3600" b="1" i="0" kern="1200" baseline="0" smtClean="0">
          <a:solidFill>
            <a:schemeClr val="tx2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hotos/schnoogg/32046768672" TargetMode="External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ublicdomainpictures.net/view-image.php?image=228817&amp;picture=black-skull-n-crossbones" TargetMode="Externa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5400" dirty="0">
                <a:solidFill>
                  <a:srgbClr val="FF0000"/>
                </a:solidFill>
              </a:rPr>
              <a:t>NHS - PAEDIATRIC MOVEMENT THERAPY</a:t>
            </a:r>
            <a:br>
              <a:rPr lang="en-US" altLang="en-US" sz="5400" dirty="0">
                <a:solidFill>
                  <a:srgbClr val="FF0000"/>
                </a:solidFill>
              </a:rPr>
            </a:br>
            <a:r>
              <a:rPr lang="en-US" altLang="en-US" sz="5400" dirty="0">
                <a:solidFill>
                  <a:srgbClr val="FF0000"/>
                </a:solidFill>
              </a:rPr>
              <a:t>CQUIN</a:t>
            </a:r>
            <a:br>
              <a:rPr lang="en-US" altLang="en-US" sz="5400" dirty="0">
                <a:solidFill>
                  <a:srgbClr val="FF0000"/>
                </a:solidFill>
              </a:rPr>
            </a:b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r Charlie Fairhurs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/>
              <a:t>18</a:t>
            </a:r>
            <a:r>
              <a:rPr lang="en-US" baseline="30000"/>
              <a:t>th</a:t>
            </a:r>
            <a:r>
              <a:rPr lang="en-US"/>
              <a:t> </a:t>
            </a:r>
            <a:r>
              <a:rPr lang="en-US" dirty="0"/>
              <a:t>June 2021</a:t>
            </a:r>
          </a:p>
        </p:txBody>
      </p:sp>
    </p:spTree>
    <p:extLst>
      <p:ext uri="{BB962C8B-B14F-4D97-AF65-F5344CB8AC3E}">
        <p14:creationId xmlns:p14="http://schemas.microsoft.com/office/powerpoint/2010/main" val="833375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3737453"/>
              </p:ext>
            </p:extLst>
          </p:nvPr>
        </p:nvGraphicFramePr>
        <p:xfrm>
          <a:off x="1801996" y="1446265"/>
          <a:ext cx="4962111" cy="21114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1" y="374589"/>
            <a:ext cx="7356815" cy="667725"/>
          </a:xfrm>
        </p:spPr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FF0000"/>
                </a:solidFill>
              </a:rPr>
              <a:t>Improving Valu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2D5018-2030-2046-84FC-87E41EA86E42}" type="slidenum">
              <a:rPr lang="en-US" smtClean="0">
                <a:solidFill>
                  <a:srgbClr val="0072C6"/>
                </a:solidFill>
              </a:rPr>
              <a:pPr/>
              <a:t>10</a:t>
            </a:fld>
            <a:endParaRPr lang="en-US" dirty="0">
              <a:solidFill>
                <a:srgbClr val="0072C6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415" y="3853543"/>
            <a:ext cx="3845385" cy="15244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95356" y="3847985"/>
            <a:ext cx="4971165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r>
              <a:rPr lang="en-GB" sz="1200" b="1" dirty="0">
                <a:solidFill>
                  <a:srgbClr val="0070C0"/>
                </a:solidFill>
              </a:rPr>
              <a:t>Value in healthcare is a relationship between patient outcome and costs</a:t>
            </a:r>
            <a:r>
              <a:rPr lang="en-GB" sz="1200" dirty="0">
                <a:solidFill>
                  <a:srgbClr val="0070C0"/>
                </a:solidFill>
              </a:rPr>
              <a:t>. </a:t>
            </a:r>
          </a:p>
          <a:p>
            <a:pPr defTabSz="342900"/>
            <a:endParaRPr lang="en-GB" sz="1200" dirty="0">
              <a:solidFill>
                <a:prstClr val="black"/>
              </a:solidFill>
            </a:endParaRPr>
          </a:p>
          <a:p>
            <a:pPr defTabSz="342900"/>
            <a:endParaRPr lang="en-GB" sz="1200" dirty="0">
              <a:solidFill>
                <a:prstClr val="black"/>
              </a:solidFill>
            </a:endParaRPr>
          </a:p>
          <a:p>
            <a:pPr defTabSz="342900"/>
            <a:r>
              <a:rPr lang="en-GB" sz="1200" dirty="0">
                <a:solidFill>
                  <a:prstClr val="black"/>
                </a:solidFill>
              </a:rPr>
              <a:t>(</a:t>
            </a:r>
            <a:r>
              <a:rPr lang="en-GB" sz="1200" b="1" dirty="0">
                <a:solidFill>
                  <a:prstClr val="black"/>
                </a:solidFill>
              </a:rPr>
              <a:t>positive outcome = benefit - harm</a:t>
            </a:r>
            <a:r>
              <a:rPr lang="en-GB" sz="1200" dirty="0">
                <a:solidFill>
                  <a:prstClr val="black"/>
                </a:solidFill>
              </a:rPr>
              <a:t>)</a:t>
            </a:r>
          </a:p>
          <a:p>
            <a:pPr defTabSz="342900"/>
            <a:endParaRPr lang="en-GB" sz="1200" dirty="0">
              <a:solidFill>
                <a:prstClr val="black"/>
              </a:solidFill>
            </a:endParaRPr>
          </a:p>
          <a:p>
            <a:pPr defTabSz="342900"/>
            <a:endParaRPr lang="en-GB" sz="1200" dirty="0">
              <a:solidFill>
                <a:prstClr val="black"/>
              </a:solidFill>
            </a:endParaRPr>
          </a:p>
          <a:p>
            <a:pPr defTabSz="342900"/>
            <a:r>
              <a:rPr lang="en-GB" sz="1200" dirty="0">
                <a:solidFill>
                  <a:prstClr val="black"/>
                </a:solidFill>
              </a:rPr>
              <a:t>By </a:t>
            </a:r>
            <a:r>
              <a:rPr lang="en-GB" sz="1400" b="1" dirty="0">
                <a:solidFill>
                  <a:srgbClr val="FF0000"/>
                </a:solidFill>
              </a:rPr>
              <a:t>reducing variation </a:t>
            </a:r>
            <a:r>
              <a:rPr lang="en-GB" sz="1200" dirty="0">
                <a:solidFill>
                  <a:prstClr val="black"/>
                </a:solidFill>
              </a:rPr>
              <a:t>(and improving the mean) in patient benefit &amp; outcome, harm and costs of healthcare we can improve value.</a:t>
            </a:r>
          </a:p>
          <a:p>
            <a:pPr defTabSz="342900"/>
            <a:endParaRPr lang="en-GB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068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6172201" y="3438064"/>
            <a:ext cx="1603267" cy="22158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defTabSz="342900"/>
            <a:r>
              <a:rPr lang="en-GB" sz="1350" dirty="0">
                <a:solidFill>
                  <a:srgbClr val="003893"/>
                </a:solidFill>
              </a:rPr>
              <a:t>Operational Plan </a:t>
            </a:r>
          </a:p>
          <a:p>
            <a:pPr algn="ctr" defTabSz="342900"/>
            <a:r>
              <a:rPr lang="en-GB" sz="1350" dirty="0">
                <a:solidFill>
                  <a:srgbClr val="003893"/>
                </a:solidFill>
              </a:rPr>
              <a:t> (Regional)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671123" y="2516820"/>
            <a:ext cx="4163633" cy="31371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defTabSz="342900"/>
            <a:r>
              <a:rPr lang="en-GB" sz="1350" dirty="0">
                <a:solidFill>
                  <a:srgbClr val="003893"/>
                </a:solidFill>
              </a:rPr>
              <a:t>Operational Plan (National)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219414"/>
            <a:ext cx="7775465" cy="824915"/>
          </a:xfrm>
        </p:spPr>
        <p:txBody>
          <a:bodyPr>
            <a:noAutofit/>
          </a:bodyPr>
          <a:lstStyle/>
          <a:p>
            <a:r>
              <a:rPr lang="en-US" sz="2800" dirty="0" err="1">
                <a:solidFill>
                  <a:srgbClr val="FF0000"/>
                </a:solidFill>
              </a:rPr>
              <a:t>Specialised</a:t>
            </a:r>
            <a:r>
              <a:rPr lang="en-US" sz="2800" dirty="0">
                <a:solidFill>
                  <a:srgbClr val="FF0000"/>
                </a:solidFill>
              </a:rPr>
              <a:t> and Highly </a:t>
            </a:r>
            <a:r>
              <a:rPr lang="en-US" sz="2800" dirty="0" err="1">
                <a:solidFill>
                  <a:srgbClr val="FF0000"/>
                </a:solidFill>
              </a:rPr>
              <a:t>Specialised</a:t>
            </a:r>
            <a:r>
              <a:rPr lang="en-US" sz="2800" dirty="0">
                <a:solidFill>
                  <a:srgbClr val="FF0000"/>
                </a:solidFill>
              </a:rPr>
              <a:t> Services</a:t>
            </a:r>
          </a:p>
        </p:txBody>
      </p:sp>
      <p:sp>
        <p:nvSpPr>
          <p:cNvPr id="4" name="Rectangle 3"/>
          <p:cNvSpPr/>
          <p:nvPr/>
        </p:nvSpPr>
        <p:spPr>
          <a:xfrm>
            <a:off x="2545225" y="2063521"/>
            <a:ext cx="1750217" cy="3857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900" dirty="0">
                <a:solidFill>
                  <a:prstClr val="white"/>
                </a:solidFill>
              </a:rPr>
              <a:t>Specialised Services Committee (SSC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45223" y="1562267"/>
            <a:ext cx="1750218" cy="3857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1050" dirty="0">
                <a:solidFill>
                  <a:prstClr val="white"/>
                </a:solidFill>
              </a:rPr>
              <a:t>NHS England Board</a:t>
            </a:r>
          </a:p>
        </p:txBody>
      </p:sp>
      <p:sp>
        <p:nvSpPr>
          <p:cNvPr id="9" name="Rectangle 8"/>
          <p:cNvSpPr/>
          <p:nvPr/>
        </p:nvSpPr>
        <p:spPr>
          <a:xfrm>
            <a:off x="2545222" y="2599301"/>
            <a:ext cx="1750217" cy="3857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Specialised Commissioning Oversight Group (SCOG)</a:t>
            </a:r>
          </a:p>
        </p:txBody>
      </p:sp>
      <p:sp>
        <p:nvSpPr>
          <p:cNvPr id="10" name="Rectangle 9"/>
          <p:cNvSpPr/>
          <p:nvPr/>
        </p:nvSpPr>
        <p:spPr>
          <a:xfrm>
            <a:off x="4482883" y="3336475"/>
            <a:ext cx="1164431" cy="47863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Clinical Prioritisation Advisory Group </a:t>
            </a:r>
          </a:p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(CPAG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530935" y="3716792"/>
            <a:ext cx="1164431" cy="478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National Programme / Project Board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530934" y="4395445"/>
            <a:ext cx="1164431" cy="478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National Function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482883" y="3912733"/>
            <a:ext cx="1164431" cy="47863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Rare Diseases Advisory Group </a:t>
            </a:r>
          </a:p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(RDAG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6717" y="3695347"/>
            <a:ext cx="1164431" cy="47863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Regional Performance Board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6715" y="4395444"/>
            <a:ext cx="1164431" cy="47863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Hub Performance Board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482882" y="4475899"/>
            <a:ext cx="1164431" cy="47863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Programmes of Care/ </a:t>
            </a:r>
            <a:r>
              <a:rPr lang="en-GB" sz="825" dirty="0">
                <a:solidFill>
                  <a:srgbClr val="FF0000"/>
                </a:solidFill>
                <a:highlight>
                  <a:srgbClr val="FFFF00"/>
                </a:highlight>
              </a:rPr>
              <a:t>CRGs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7775466" y="3185089"/>
            <a:ext cx="0" cy="771017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Elbow Connector 24"/>
          <p:cNvCxnSpPr>
            <a:stCxn id="9" idx="2"/>
          </p:cNvCxnSpPr>
          <p:nvPr/>
        </p:nvCxnSpPr>
        <p:spPr>
          <a:xfrm rot="16200000" flipH="1">
            <a:off x="3320320" y="3085077"/>
            <a:ext cx="200027" cy="2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4" idx="3"/>
          </p:cNvCxnSpPr>
          <p:nvPr/>
        </p:nvCxnSpPr>
        <p:spPr>
          <a:xfrm flipV="1">
            <a:off x="7511148" y="3934662"/>
            <a:ext cx="271463" cy="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3959685" y="3185091"/>
            <a:ext cx="7144" cy="144967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V="1">
            <a:off x="3695365" y="3934662"/>
            <a:ext cx="271463" cy="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flipV="1">
            <a:off x="3695365" y="4634759"/>
            <a:ext cx="271463" cy="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6009941" y="3185089"/>
            <a:ext cx="0" cy="151874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5647315" y="3550111"/>
            <a:ext cx="367739" cy="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13" idx="3"/>
          </p:cNvCxnSpPr>
          <p:nvPr/>
        </p:nvCxnSpPr>
        <p:spPr>
          <a:xfrm>
            <a:off x="5647314" y="4152048"/>
            <a:ext cx="374884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5647313" y="4703835"/>
            <a:ext cx="374883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9" idx="2"/>
          </p:cNvCxnSpPr>
          <p:nvPr/>
        </p:nvCxnSpPr>
        <p:spPr>
          <a:xfrm rot="16200000" flipH="1">
            <a:off x="4607980" y="1797416"/>
            <a:ext cx="214315" cy="2589611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stCxn id="4" idx="0"/>
            <a:endCxn id="8" idx="2"/>
          </p:cNvCxnSpPr>
          <p:nvPr/>
        </p:nvCxnSpPr>
        <p:spPr>
          <a:xfrm rot="16200000" flipV="1">
            <a:off x="3362587" y="2005776"/>
            <a:ext cx="115491" cy="1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stCxn id="9" idx="0"/>
            <a:endCxn id="4" idx="2"/>
          </p:cNvCxnSpPr>
          <p:nvPr/>
        </p:nvCxnSpPr>
        <p:spPr>
          <a:xfrm rot="5400000" flipH="1" flipV="1">
            <a:off x="3345323" y="2524291"/>
            <a:ext cx="150018" cy="2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15" idx="0"/>
            <a:endCxn id="14" idx="2"/>
          </p:cNvCxnSpPr>
          <p:nvPr/>
        </p:nvCxnSpPr>
        <p:spPr>
          <a:xfrm rot="5400000" flipH="1" flipV="1">
            <a:off x="6818200" y="4284709"/>
            <a:ext cx="221465" cy="2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1755328" y="3103426"/>
            <a:ext cx="1164431" cy="4786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Specialised Commissioning SMT (National)</a:t>
            </a:r>
          </a:p>
        </p:txBody>
      </p:sp>
      <p:cxnSp>
        <p:nvCxnSpPr>
          <p:cNvPr id="60" name="Straight Connector 59"/>
          <p:cNvCxnSpPr/>
          <p:nvPr/>
        </p:nvCxnSpPr>
        <p:spPr>
          <a:xfrm>
            <a:off x="6009940" y="3199379"/>
            <a:ext cx="1765526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5"/>
          <p:cNvCxnSpPr>
            <a:stCxn id="58" idx="2"/>
            <a:endCxn id="11" idx="1"/>
          </p:cNvCxnSpPr>
          <p:nvPr/>
        </p:nvCxnSpPr>
        <p:spPr>
          <a:xfrm rot="16200000" flipH="1">
            <a:off x="2247214" y="3672386"/>
            <a:ext cx="374051" cy="193391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58" idx="2"/>
            <a:endCxn id="12" idx="1"/>
          </p:cNvCxnSpPr>
          <p:nvPr/>
        </p:nvCxnSpPr>
        <p:spPr>
          <a:xfrm rot="16200000" flipH="1">
            <a:off x="1907885" y="4011712"/>
            <a:ext cx="1052705" cy="193391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Line Callout 1 72"/>
          <p:cNvSpPr/>
          <p:nvPr/>
        </p:nvSpPr>
        <p:spPr>
          <a:xfrm>
            <a:off x="4916751" y="1556065"/>
            <a:ext cx="1715010" cy="586979"/>
          </a:xfrm>
          <a:prstGeom prst="borderCallout1">
            <a:avLst>
              <a:gd name="adj1" fmla="val 53393"/>
              <a:gd name="adj2" fmla="val -771"/>
              <a:gd name="adj3" fmla="val 211237"/>
              <a:gd name="adj4" fmla="val -44248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GB" sz="1050" dirty="0">
                <a:solidFill>
                  <a:prstClr val="black"/>
                </a:solidFill>
              </a:rPr>
              <a:t>SCOG provides oversight of delivery and sets strategic direction</a:t>
            </a:r>
          </a:p>
        </p:txBody>
      </p:sp>
      <p:sp>
        <p:nvSpPr>
          <p:cNvPr id="74" name="Line Callout 1 73"/>
          <p:cNvSpPr/>
          <p:nvPr/>
        </p:nvSpPr>
        <p:spPr>
          <a:xfrm>
            <a:off x="1270317" y="3955077"/>
            <a:ext cx="970019" cy="918998"/>
          </a:xfrm>
          <a:prstGeom prst="borderCallout1">
            <a:avLst>
              <a:gd name="adj1" fmla="val -4101"/>
              <a:gd name="adj2" fmla="val 48739"/>
              <a:gd name="adj3" fmla="val -56138"/>
              <a:gd name="adj4" fmla="val 77991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r>
              <a:rPr lang="en-GB" sz="1050" dirty="0">
                <a:solidFill>
                  <a:prstClr val="black"/>
                </a:solidFill>
              </a:rPr>
              <a:t>SMT provides operational support for delivery</a:t>
            </a:r>
          </a:p>
        </p:txBody>
      </p:sp>
      <p:cxnSp>
        <p:nvCxnSpPr>
          <p:cNvPr id="75" name="Elbow Connector 74"/>
          <p:cNvCxnSpPr>
            <a:stCxn id="58" idx="0"/>
            <a:endCxn id="9" idx="1"/>
          </p:cNvCxnSpPr>
          <p:nvPr/>
        </p:nvCxnSpPr>
        <p:spPr>
          <a:xfrm rot="5400000" flipH="1" flipV="1">
            <a:off x="2285763" y="2843965"/>
            <a:ext cx="311242" cy="207680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3713224" y="5043487"/>
            <a:ext cx="1164431" cy="33660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GB" sz="825" dirty="0">
                <a:solidFill>
                  <a:prstClr val="white"/>
                </a:solidFill>
              </a:rPr>
              <a:t>Service Reviews</a:t>
            </a:r>
          </a:p>
        </p:txBody>
      </p:sp>
      <p:cxnSp>
        <p:nvCxnSpPr>
          <p:cNvPr id="53" name="Elbow Connector 52"/>
          <p:cNvCxnSpPr>
            <a:stCxn id="16" idx="2"/>
            <a:endCxn id="45" idx="3"/>
          </p:cNvCxnSpPr>
          <p:nvPr/>
        </p:nvCxnSpPr>
        <p:spPr>
          <a:xfrm rot="5400000">
            <a:off x="4842745" y="4989440"/>
            <a:ext cx="257261" cy="187442"/>
          </a:xfrm>
          <a:prstGeom prst="bentConnector2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58" idx="2"/>
            <a:endCxn id="45" idx="1"/>
          </p:cNvCxnSpPr>
          <p:nvPr/>
        </p:nvCxnSpPr>
        <p:spPr>
          <a:xfrm rot="16200000" flipH="1">
            <a:off x="2210517" y="3709083"/>
            <a:ext cx="1629734" cy="1375681"/>
          </a:xfrm>
          <a:prstGeom prst="bentConnector2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6780107" y="1929909"/>
            <a:ext cx="1145481" cy="122341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defTabSz="342900"/>
            <a:r>
              <a:rPr lang="en-GB" sz="1050" dirty="0">
                <a:solidFill>
                  <a:prstClr val="black"/>
                </a:solidFill>
              </a:rPr>
              <a:t>Implementation of change delivered through 7 Regions and 16 Commissioning Hubs</a:t>
            </a:r>
          </a:p>
        </p:txBody>
      </p:sp>
      <p:cxnSp>
        <p:nvCxnSpPr>
          <p:cNvPr id="6" name="Straight Connector 5"/>
          <p:cNvCxnSpPr>
            <a:stCxn id="3" idx="2"/>
          </p:cNvCxnSpPr>
          <p:nvPr/>
        </p:nvCxnSpPr>
        <p:spPr>
          <a:xfrm flipH="1">
            <a:off x="7083943" y="3153321"/>
            <a:ext cx="268905" cy="54202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2D5018-2030-2046-84FC-87E41EA86E42}" type="slidenum">
              <a:rPr lang="en-US" smtClean="0">
                <a:solidFill>
                  <a:srgbClr val="0072C6"/>
                </a:solidFill>
              </a:rPr>
              <a:pPr/>
              <a:t>11</a:t>
            </a:fld>
            <a:endParaRPr lang="en-US" dirty="0">
              <a:solidFill>
                <a:srgbClr val="0072C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3114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C4C68-9C76-5449-BBA0-107A51179E14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098" name="Picture 2" descr="Indiana Jones Image: The Last Crusade Screencap | Indiana jones, Indiana,  Image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30" r="29802"/>
          <a:stretch/>
        </p:blipFill>
        <p:spPr bwMode="auto">
          <a:xfrm>
            <a:off x="2619383" y="3040918"/>
            <a:ext cx="3032449" cy="3372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://www.snouts-in-the-trough.com/wp-content/uploads/2014/12/Bureaucracy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0" t="2271" r="11191" b="61674"/>
          <a:stretch/>
        </p:blipFill>
        <p:spPr bwMode="auto">
          <a:xfrm>
            <a:off x="174170" y="568305"/>
            <a:ext cx="7445830" cy="2472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2925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472F00B-0420-6049-89B2-212A029E104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10696" r="-1" b="38922"/>
          <a:stretch/>
        </p:blipFill>
        <p:spPr>
          <a:xfrm>
            <a:off x="457201" y="1453632"/>
            <a:ext cx="7841707" cy="3950736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A5889A-8A20-5C4B-9A22-260CAEDEBC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D66C4C68-9C76-5449-BBA0-107A51179E14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084A9B9-3A56-6649-AA53-DF4B976DF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309916"/>
            <a:ext cx="7356815" cy="667725"/>
          </a:xfrm>
        </p:spPr>
        <p:txBody>
          <a:bodyPr anchor="ctr">
            <a:normAutofit/>
          </a:bodyPr>
          <a:lstStyle/>
          <a:p>
            <a:r>
              <a:rPr lang="en-US" dirty="0"/>
              <a:t>Central CPIP funding pre 2018</a:t>
            </a:r>
          </a:p>
        </p:txBody>
      </p:sp>
    </p:spTree>
    <p:extLst>
      <p:ext uri="{BB962C8B-B14F-4D97-AF65-F5344CB8AC3E}">
        <p14:creationId xmlns:p14="http://schemas.microsoft.com/office/powerpoint/2010/main" val="38010000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200" y="1214801"/>
            <a:ext cx="8602717" cy="4864290"/>
          </a:xfrm>
        </p:spPr>
        <p:txBody>
          <a:bodyPr>
            <a:normAutofit/>
          </a:bodyPr>
          <a:lstStyle/>
          <a:p>
            <a:pPr marL="3657600" lvl="8" indent="0">
              <a:buNone/>
              <a:defRPr/>
            </a:pPr>
            <a:r>
              <a:rPr lang="en-US" dirty="0">
                <a:solidFill>
                  <a:srgbClr val="0000FF"/>
                </a:solidFill>
              </a:rPr>
              <a:t>				</a:t>
            </a:r>
            <a:r>
              <a:rPr lang="en-US" sz="2400" b="1" dirty="0">
                <a:solidFill>
                  <a:srgbClr val="0000FF"/>
                </a:solidFill>
              </a:rPr>
              <a:t>Post Selective 						Dorsal </a:t>
            </a:r>
            <a:r>
              <a:rPr lang="en-US" sz="2400" b="1" dirty="0" err="1">
                <a:solidFill>
                  <a:srgbClr val="0000FF"/>
                </a:solidFill>
              </a:rPr>
              <a:t>Rhizotomy</a:t>
            </a:r>
            <a:r>
              <a:rPr lang="en-US" sz="2400" b="1" dirty="0">
                <a:solidFill>
                  <a:srgbClr val="0000FF"/>
                </a:solidFill>
              </a:rPr>
              <a:t> 					</a:t>
            </a:r>
            <a:r>
              <a:rPr lang="en-US" sz="2400" b="1" dirty="0"/>
              <a:t>implementation </a:t>
            </a:r>
          </a:p>
          <a:p>
            <a:pPr marL="0" indent="0">
              <a:buNone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1" y="451336"/>
            <a:ext cx="7356815" cy="667725"/>
          </a:xfrm>
        </p:spPr>
        <p:txBody>
          <a:bodyPr/>
          <a:lstStyle/>
          <a:p>
            <a:r>
              <a:rPr lang="en-US" altLang="en-US" dirty="0">
                <a:solidFill>
                  <a:srgbClr val="FF0000"/>
                </a:solidFill>
              </a:rPr>
              <a:t>ACCESS, QUALITY and EQUIT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C4C68-9C76-5449-BBA0-107A51179E14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86ECD56-72B2-7A4C-90B9-01C59CA524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60" y="1279754"/>
            <a:ext cx="5013248" cy="28769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71AA8D6-C04D-2E42-81BB-4B35698DEF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0023" y="4231314"/>
            <a:ext cx="4544363" cy="1943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3435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0" y="954797"/>
            <a:ext cx="9144000" cy="5121858"/>
          </a:xfrm>
        </p:spPr>
        <p:txBody>
          <a:bodyPr>
            <a:normAutofit fontScale="92500" lnSpcReduction="10000"/>
          </a:bodyPr>
          <a:lstStyle/>
          <a:p>
            <a:pPr>
              <a:defRPr/>
            </a:pPr>
            <a:r>
              <a:rPr lang="en-US" sz="1600" i="1" dirty="0">
                <a:solidFill>
                  <a:srgbClr val="0000FF"/>
                </a:solidFill>
              </a:rPr>
              <a:t>Post Selective Dorsal </a:t>
            </a:r>
            <a:r>
              <a:rPr lang="en-US" sz="1600" i="1" dirty="0" err="1">
                <a:solidFill>
                  <a:srgbClr val="0000FF"/>
                </a:solidFill>
              </a:rPr>
              <a:t>Rhizotomy</a:t>
            </a:r>
            <a:r>
              <a:rPr lang="en-US" sz="1600" i="1" dirty="0">
                <a:solidFill>
                  <a:srgbClr val="0000FF"/>
                </a:solidFill>
              </a:rPr>
              <a:t> </a:t>
            </a:r>
            <a:r>
              <a:rPr lang="en-US" sz="1600" i="1" dirty="0"/>
              <a:t>work up to implementation 2016-2018</a:t>
            </a:r>
          </a:p>
          <a:p>
            <a:pPr marL="0" indent="0">
              <a:buNone/>
              <a:defRPr/>
            </a:pPr>
            <a:endParaRPr lang="en-US" sz="1600" i="1" dirty="0"/>
          </a:p>
          <a:p>
            <a:pPr lvl="2">
              <a:defRPr/>
            </a:pPr>
            <a:r>
              <a:rPr lang="en-US" sz="2000" i="1" dirty="0"/>
              <a:t>ODNs funding dropped 2016</a:t>
            </a:r>
          </a:p>
          <a:p>
            <a:pPr lvl="2">
              <a:defRPr/>
            </a:pPr>
            <a:r>
              <a:rPr lang="en-US" sz="2000" i="1" dirty="0"/>
              <a:t>NICE guidelines</a:t>
            </a:r>
          </a:p>
          <a:p>
            <a:pPr lvl="3">
              <a:defRPr/>
            </a:pPr>
            <a:r>
              <a:rPr lang="en-US" sz="2000" i="1" dirty="0"/>
              <a:t>Spasticity 2012</a:t>
            </a:r>
          </a:p>
          <a:p>
            <a:pPr lvl="3">
              <a:defRPr/>
            </a:pPr>
            <a:r>
              <a:rPr lang="en-US" sz="2000" i="1" dirty="0"/>
              <a:t>Cerebral Palsy 2017 / 2019</a:t>
            </a:r>
          </a:p>
          <a:p>
            <a:pPr>
              <a:defRPr/>
            </a:pPr>
            <a:endParaRPr lang="en-US" sz="1600" i="1" dirty="0"/>
          </a:p>
          <a:p>
            <a:pPr>
              <a:defRPr/>
            </a:pPr>
            <a:r>
              <a:rPr lang="en-US" dirty="0">
                <a:solidFill>
                  <a:srgbClr val="008000"/>
                </a:solidFill>
              </a:rPr>
              <a:t>2018-19 Commissioning for Quality and Innovation (CQUIN)</a:t>
            </a:r>
            <a:r>
              <a:rPr lang="en-US" dirty="0"/>
              <a:t> development – </a:t>
            </a:r>
            <a:r>
              <a:rPr lang="en-US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HSe CRG </a:t>
            </a:r>
            <a:r>
              <a:rPr lang="en-US" dirty="0"/>
              <a:t>/ </a:t>
            </a:r>
            <a:r>
              <a:rPr lang="en-US" dirty="0" err="1"/>
              <a:t>PoCB</a:t>
            </a:r>
            <a:r>
              <a:rPr lang="en-US" dirty="0"/>
              <a:t> </a:t>
            </a:r>
          </a:p>
          <a:p>
            <a:pPr lvl="1">
              <a:buFont typeface="Arial"/>
              <a:buChar char="–"/>
              <a:defRPr/>
            </a:pPr>
            <a:r>
              <a:rPr lang="en-US" dirty="0">
                <a:solidFill>
                  <a:srgbClr val="0070C0"/>
                </a:solidFill>
              </a:rPr>
              <a:t>Overall Movement therapy review </a:t>
            </a:r>
          </a:p>
          <a:p>
            <a:pPr>
              <a:defRPr/>
            </a:pPr>
            <a:r>
              <a:rPr lang="en-US" dirty="0"/>
              <a:t>Commissioners highlighted</a:t>
            </a:r>
          </a:p>
          <a:p>
            <a:pPr>
              <a:defRPr/>
            </a:pPr>
            <a:r>
              <a:rPr lang="en-US" dirty="0"/>
              <a:t>Variation in service provision across UK</a:t>
            </a:r>
          </a:p>
          <a:p>
            <a:pPr lvl="1">
              <a:defRPr/>
            </a:pPr>
            <a:r>
              <a:rPr lang="en-US" dirty="0"/>
              <a:t>Assessment of tone and movement</a:t>
            </a:r>
          </a:p>
          <a:p>
            <a:pPr lvl="1">
              <a:defRPr/>
            </a:pPr>
            <a:r>
              <a:rPr lang="en-US" dirty="0"/>
              <a:t>Intervention – tone / movement / therapy / activity / participation</a:t>
            </a:r>
          </a:p>
          <a:p>
            <a:pPr lvl="1">
              <a:defRPr/>
            </a:pPr>
            <a:r>
              <a:rPr lang="en-US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PIP uptake, data collection and pathways</a:t>
            </a:r>
          </a:p>
          <a:p>
            <a:pPr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0"/>
            <a:ext cx="7620000" cy="814949"/>
          </a:xfrm>
        </p:spPr>
        <p:txBody>
          <a:bodyPr/>
          <a:lstStyle/>
          <a:p>
            <a:r>
              <a:rPr lang="en-US" altLang="en-US" dirty="0">
                <a:solidFill>
                  <a:srgbClr val="FF0000"/>
                </a:solidFill>
              </a:rPr>
              <a:t>QUALITY and EQUIT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C4C68-9C76-5449-BBA0-107A51179E1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8562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7994" y="1064000"/>
            <a:ext cx="3905206" cy="5489525"/>
          </a:xfr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C4C68-9C76-5449-BBA0-107A51179E14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1" y="302043"/>
            <a:ext cx="7356815" cy="667725"/>
          </a:xfrm>
        </p:spPr>
        <p:txBody>
          <a:bodyPr/>
          <a:lstStyle/>
          <a:p>
            <a:r>
              <a:rPr lang="en-GB" dirty="0">
                <a:solidFill>
                  <a:srgbClr val="FF0000"/>
                </a:solidFill>
              </a:rPr>
              <a:t>7 NHS region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915608" y="2593910"/>
            <a:ext cx="25752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Newcastle</a:t>
            </a:r>
          </a:p>
          <a:p>
            <a:r>
              <a:rPr lang="en-GB" dirty="0"/>
              <a:t>Leeds</a:t>
            </a:r>
          </a:p>
          <a:p>
            <a:r>
              <a:rPr lang="en-GB" dirty="0"/>
              <a:t>Sheffiel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45777" y="2559418"/>
            <a:ext cx="20321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RMCH</a:t>
            </a:r>
          </a:p>
          <a:p>
            <a:r>
              <a:rPr lang="en-GB" dirty="0"/>
              <a:t>Alder He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08239" y="3965638"/>
            <a:ext cx="20154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Nottingham</a:t>
            </a:r>
          </a:p>
          <a:p>
            <a:r>
              <a:rPr lang="en-GB" dirty="0"/>
              <a:t>Birmingham</a:t>
            </a:r>
          </a:p>
          <a:p>
            <a:r>
              <a:rPr lang="en-GB"/>
              <a:t>RJAH Oswestry</a:t>
            </a:r>
            <a:endParaRPr lang="en-GB" dirty="0"/>
          </a:p>
          <a:p>
            <a:r>
              <a:rPr lang="en-GB" dirty="0"/>
              <a:t>Coventr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67332" y="4273420"/>
            <a:ext cx="2108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ambridg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945777" y="5822302"/>
            <a:ext cx="15438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Bristol</a:t>
            </a:r>
          </a:p>
          <a:p>
            <a:r>
              <a:rPr lang="en-GB" dirty="0"/>
              <a:t>Oxford</a:t>
            </a:r>
          </a:p>
          <a:p>
            <a:r>
              <a:rPr lang="en-GB" dirty="0"/>
              <a:t>Southampt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512767" y="5138190"/>
            <a:ext cx="13809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OSH</a:t>
            </a:r>
          </a:p>
          <a:p>
            <a:r>
              <a:rPr lang="en-GB" dirty="0"/>
              <a:t>C&amp;W RLH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561045" y="6001789"/>
            <a:ext cx="16943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LCH  / KCH</a:t>
            </a:r>
          </a:p>
          <a:p>
            <a:r>
              <a:rPr lang="en-GB" dirty="0"/>
              <a:t>St George’s</a:t>
            </a:r>
          </a:p>
          <a:p>
            <a:endParaRPr lang="en-GB" dirty="0"/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6326156" y="4597757"/>
            <a:ext cx="929261" cy="32316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5561045" y="3517240"/>
            <a:ext cx="503853" cy="35456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3023118" y="2817845"/>
            <a:ext cx="1551993" cy="9798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023118" y="4557577"/>
            <a:ext cx="1716833" cy="14359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V="1">
            <a:off x="2647994" y="5757907"/>
            <a:ext cx="1572554" cy="59844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5561045" y="5925856"/>
            <a:ext cx="0" cy="43049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11" idx="1"/>
          </p:cNvCxnSpPr>
          <p:nvPr/>
        </p:nvCxnSpPr>
        <p:spPr>
          <a:xfrm flipH="1" flipV="1">
            <a:off x="5766318" y="5398932"/>
            <a:ext cx="746449" cy="6242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0436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00984" y="879683"/>
            <a:ext cx="8586951" cy="6104595"/>
          </a:xfrm>
        </p:spPr>
        <p:txBody>
          <a:bodyPr>
            <a:normAutofit/>
          </a:bodyPr>
          <a:lstStyle/>
          <a:p>
            <a:r>
              <a:rPr lang="en-GB" b="1" u="sng" dirty="0"/>
              <a:t>CPIP focus</a:t>
            </a:r>
          </a:p>
          <a:p>
            <a:r>
              <a:rPr lang="en-GB" dirty="0"/>
              <a:t>Central funding data collection – Dundee </a:t>
            </a:r>
          </a:p>
          <a:p>
            <a:r>
              <a:rPr lang="en-GB" dirty="0"/>
              <a:t>Agreed protocols</a:t>
            </a:r>
          </a:p>
          <a:p>
            <a:pPr lvl="1"/>
            <a:r>
              <a:rPr lang="en-GB" dirty="0"/>
              <a:t>Assessment </a:t>
            </a:r>
          </a:p>
          <a:p>
            <a:pPr lvl="1"/>
            <a:r>
              <a:rPr lang="en-GB" dirty="0">
                <a:solidFill>
                  <a:schemeClr val="accent3"/>
                </a:solidFill>
              </a:rPr>
              <a:t>Intervention – tone Rx / therapy / Orthopaedics???</a:t>
            </a:r>
          </a:p>
          <a:p>
            <a:r>
              <a:rPr lang="en-GB" dirty="0"/>
              <a:t>Prevent duplication</a:t>
            </a:r>
          </a:p>
          <a:p>
            <a:pPr lvl="1"/>
            <a:r>
              <a:rPr lang="en-GB" dirty="0"/>
              <a:t>Neurosciences CRG – tone management CPIP</a:t>
            </a:r>
          </a:p>
          <a:p>
            <a:pPr lvl="1"/>
            <a:r>
              <a:rPr lang="en-GB" dirty="0"/>
              <a:t>Specialist orthopaedics – spec. surgery in Children CRG</a:t>
            </a:r>
          </a:p>
          <a:p>
            <a:r>
              <a:rPr lang="en-GB" dirty="0">
                <a:solidFill>
                  <a:srgbClr val="FF0000"/>
                </a:solidFill>
              </a:rPr>
              <a:t>Networks</a:t>
            </a:r>
          </a:p>
          <a:p>
            <a:pPr lvl="1"/>
            <a:r>
              <a:rPr lang="en-GB" dirty="0"/>
              <a:t>Referral into each centre – CPIP</a:t>
            </a:r>
          </a:p>
          <a:p>
            <a:pPr lvl="1"/>
            <a:r>
              <a:rPr lang="en-GB" dirty="0"/>
              <a:t>Regional collaboration – Pathways of care</a:t>
            </a:r>
          </a:p>
          <a:p>
            <a:pPr lvl="1"/>
            <a:r>
              <a:rPr lang="en-GB" dirty="0"/>
              <a:t>National collaboration – Between centres</a:t>
            </a:r>
          </a:p>
          <a:p>
            <a:pPr lvl="1"/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C4C68-9C76-5449-BBA0-107A51179E14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9017" y="64445"/>
            <a:ext cx="7356815" cy="667725"/>
          </a:xfrm>
        </p:spPr>
        <p:txBody>
          <a:bodyPr/>
          <a:lstStyle/>
          <a:p>
            <a:r>
              <a:rPr lang="en-GB" dirty="0">
                <a:solidFill>
                  <a:srgbClr val="FF0000"/>
                </a:solidFill>
              </a:rPr>
              <a:t>CQUIN development 20-21-22</a:t>
            </a:r>
          </a:p>
        </p:txBody>
      </p:sp>
      <p:pic>
        <p:nvPicPr>
          <p:cNvPr id="5124" name="Picture 4" descr="https://assets.pewresearch.org/wp-content/uploads/sites/12/2014/10/FT_14.10.29_evolution-prom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571" y="1174709"/>
            <a:ext cx="2932857" cy="1466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5546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9004"/>
            <a:ext cx="9144000" cy="5206481"/>
          </a:xfrm>
        </p:spPr>
        <p:txBody>
          <a:bodyPr>
            <a:normAutofit lnSpcReduction="10000"/>
          </a:bodyPr>
          <a:lstStyle/>
          <a:p>
            <a:r>
              <a:rPr lang="en-GB" dirty="0"/>
              <a:t>Each centre responsible to support </a:t>
            </a:r>
            <a:r>
              <a:rPr lang="en-GB" u="sng" dirty="0"/>
              <a:t>only</a:t>
            </a:r>
            <a:r>
              <a:rPr lang="en-GB" dirty="0"/>
              <a:t> their own referral </a:t>
            </a:r>
            <a:r>
              <a:rPr lang="en-GB" dirty="0">
                <a:solidFill>
                  <a:srgbClr val="FF0000"/>
                </a:solidFill>
              </a:rPr>
              <a:t>network</a:t>
            </a:r>
            <a:r>
              <a:rPr lang="en-GB" dirty="0"/>
              <a:t>, but must work with other centres regionally / nationally</a:t>
            </a:r>
          </a:p>
          <a:p>
            <a:endParaRPr lang="en-GB" b="1" dirty="0">
              <a:solidFill>
                <a:srgbClr val="FF0000"/>
              </a:solidFill>
            </a:endParaRPr>
          </a:p>
          <a:p>
            <a:r>
              <a:rPr lang="en-GB" b="1" dirty="0">
                <a:solidFill>
                  <a:srgbClr val="FF0000"/>
                </a:solidFill>
              </a:rPr>
              <a:t>1</a:t>
            </a:r>
            <a:r>
              <a:rPr lang="en-GB" dirty="0"/>
              <a:t> </a:t>
            </a:r>
            <a:r>
              <a:rPr lang="en-GB" i="1" dirty="0"/>
              <a:t>virtual MDT in 18 weeks 66%</a:t>
            </a:r>
          </a:p>
          <a:p>
            <a:pPr lvl="1"/>
            <a:r>
              <a:rPr lang="en-GB" i="1" dirty="0"/>
              <a:t>Review </a:t>
            </a:r>
            <a:r>
              <a:rPr lang="en-GB" b="1" i="1" dirty="0">
                <a:solidFill>
                  <a:srgbClr val="FF0000"/>
                </a:solidFill>
              </a:rPr>
              <a:t>pathway</a:t>
            </a:r>
          </a:p>
          <a:p>
            <a:endParaRPr lang="en-GB" b="1" dirty="0">
              <a:solidFill>
                <a:srgbClr val="FF0000"/>
              </a:solidFill>
            </a:endParaRPr>
          </a:p>
          <a:p>
            <a:r>
              <a:rPr lang="en-GB" b="1" dirty="0">
                <a:solidFill>
                  <a:srgbClr val="FF0000"/>
                </a:solidFill>
              </a:rPr>
              <a:t>2</a:t>
            </a:r>
            <a:r>
              <a:rPr lang="en-GB" dirty="0"/>
              <a:t> </a:t>
            </a:r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CPIP support within own area of responsibility – neuro / </a:t>
            </a:r>
            <a:r>
              <a:rPr lang="en-GB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orth</a:t>
            </a:r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en-GB" b="1" dirty="0">
                <a:solidFill>
                  <a:srgbClr val="FF0000"/>
                </a:solidFill>
              </a:rPr>
              <a:t>3</a:t>
            </a:r>
            <a:r>
              <a:rPr lang="en-GB" dirty="0"/>
              <a:t> </a:t>
            </a:r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Support own referral network – early  management pathways</a:t>
            </a:r>
          </a:p>
          <a:p>
            <a:endParaRPr lang="en-GB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en-GB" b="1" dirty="0">
                <a:solidFill>
                  <a:srgbClr val="FF0000"/>
                </a:solidFill>
              </a:rPr>
              <a:t>4</a:t>
            </a:r>
            <a:r>
              <a:rPr lang="en-GB" dirty="0"/>
              <a:t> </a:t>
            </a:r>
            <a:r>
              <a:rPr lang="en-GB" i="1" dirty="0"/>
              <a:t>Data collection           </a:t>
            </a:r>
            <a:r>
              <a:rPr lang="en-GB" i="1" dirty="0">
                <a:solidFill>
                  <a:srgbClr val="FF0000"/>
                </a:solidFill>
              </a:rPr>
              <a:t>IG / Data protection</a:t>
            </a:r>
          </a:p>
          <a:p>
            <a:pPr lvl="1"/>
            <a:r>
              <a:rPr lang="en-GB" i="1" dirty="0"/>
              <a:t>Referrals, assessments, interventions, outcomes, onward referrals</a:t>
            </a:r>
          </a:p>
          <a:p>
            <a:pPr lvl="1"/>
            <a:r>
              <a:rPr lang="en-GB" i="1" dirty="0"/>
              <a:t>Reviewing central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826" y="142388"/>
            <a:ext cx="7356815" cy="667725"/>
          </a:xfrm>
        </p:spPr>
        <p:txBody>
          <a:bodyPr/>
          <a:lstStyle/>
          <a:p>
            <a:r>
              <a:rPr lang="en-GB" dirty="0">
                <a:solidFill>
                  <a:srgbClr val="FF0000"/>
                </a:solidFill>
              </a:rPr>
              <a:t>Triggers = expectations by </a:t>
            </a:r>
            <a:r>
              <a:rPr lang="en-GB" dirty="0" err="1">
                <a:solidFill>
                  <a:srgbClr val="FF0000"/>
                </a:solidFill>
              </a:rPr>
              <a:t>NHSe</a:t>
            </a:r>
            <a:endParaRPr lang="en-GB" dirty="0">
              <a:solidFill>
                <a:srgbClr val="FF0000"/>
              </a:solidFill>
            </a:endParaRP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EA76CC29-8FC3-8E45-978D-7B44531B34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2845952" y="4409627"/>
            <a:ext cx="651641" cy="651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5606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C804B7-ADC0-4C9A-ADCA-06DA744F6B21}" type="slidenum">
              <a:rPr lang="en-GB" smtClean="0"/>
              <a:t>19</a:t>
            </a:fld>
            <a:endParaRPr lang="en-GB"/>
          </a:p>
        </p:txBody>
      </p:sp>
      <p:pic>
        <p:nvPicPr>
          <p:cNvPr id="3074" name="Picture 2" descr="The World&amp;#39;s Best Paddling Trip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2100" y="1367873"/>
            <a:ext cx="6057900" cy="403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62832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4338" name="Picture 2" descr="The NHS Must Die for Health Care To be Reborn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749912"/>
            <a:ext cx="7162799" cy="4791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32648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Being Up Shit Creek Without A Paddle - Home | Facebook"/>
          <p:cNvSpPr>
            <a:spLocks noChangeAspect="1" noChangeArrowheads="1"/>
          </p:cNvSpPr>
          <p:nvPr/>
        </p:nvSpPr>
        <p:spPr bwMode="auto">
          <a:xfrm>
            <a:off x="116681" y="7489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3" name="AutoShape 4" descr="Being Up Shit Creek Without A Paddle - Home | Facebook"/>
          <p:cNvSpPr>
            <a:spLocks noChangeAspect="1" noChangeArrowheads="1"/>
          </p:cNvSpPr>
          <p:nvPr/>
        </p:nvSpPr>
        <p:spPr bwMode="auto">
          <a:xfrm>
            <a:off x="230981" y="8632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4" name="AutoShape 6" descr="Being Up Shit Creek Without A Paddle - Home | Facebook"/>
          <p:cNvSpPr>
            <a:spLocks noChangeAspect="1" noChangeArrowheads="1"/>
          </p:cNvSpPr>
          <p:nvPr/>
        </p:nvSpPr>
        <p:spPr bwMode="auto">
          <a:xfrm>
            <a:off x="345281" y="977503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3973" y="1452813"/>
            <a:ext cx="6655681" cy="3871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5626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NHS England: Â£394 million more a week? - Full Fac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038" y="493737"/>
            <a:ext cx="6686550" cy="587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79575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www.kingsfund.org.uk/sites/default/files/styles/gallery/public/2020-04/How%20funding%20flows%20in%20the%20NHS%20April%20202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691" y="847886"/>
            <a:ext cx="7300251" cy="5162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5577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 descr="NHSE/I reveal regional director teams | News | Health Service Journal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021" y="1200150"/>
            <a:ext cx="9096421" cy="4692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405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70A23EFA-9F23-40C5-B9F5-331AB31A56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7F35355A-3584-4F1F-A1A2-9F8C309A02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854CAA-71E9-4196-95EA-02DB97B3CD3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176" y="-138356"/>
            <a:ext cx="8321674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10 ODNs in NHSE structure – critical care ODN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17F6F00-255F-421F-B970-4EEC08CDFE43}"/>
              </a:ext>
            </a:extLst>
          </p:cNvPr>
          <p:cNvSpPr txBox="1"/>
          <p:nvPr/>
        </p:nvSpPr>
        <p:spPr bwMode="gray">
          <a:xfrm>
            <a:off x="377146" y="1376326"/>
            <a:ext cx="3583686" cy="5232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5EB8"/>
              </a:buClr>
              <a:buSzPct val="100000"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s map outlines th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N footprints based on existing patient flows and historical working arrangement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In general, these are aligned with the current areas for PCC Specialist Transport Provision. </a:t>
            </a: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5EB8"/>
              </a:buClr>
              <a:buSzPct val="100000"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plan is for NHS Trusts lying near </a:t>
            </a:r>
            <a:r>
              <a:rPr kumimoji="0" lang="en-GB" sz="1600" b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N boundaries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have a choice in taking part in either or both ODNs, depending on practical demands. </a:t>
            </a: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5EB8"/>
              </a:buClr>
              <a:buSzPct val="100000"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ever,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nical decision-making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ound referral to the most appropriate critical care units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l take priority over the ODN boundarie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5EB8"/>
              </a:buClr>
              <a:buSzPct val="100000"/>
              <a:buFontTx/>
              <a:buNone/>
              <a:tabLst/>
              <a:defRPr/>
            </a:pPr>
            <a:r>
              <a:rPr lang="en-GB" dirty="0">
                <a:solidFill>
                  <a:srgbClr val="000000"/>
                </a:solidFill>
                <a:latin typeface="Arial"/>
              </a:rPr>
              <a:t>Close working between the ODNs and commissioners (via ODN Boards) will enable the </a:t>
            </a:r>
            <a:r>
              <a:rPr lang="en-GB" b="1" dirty="0">
                <a:solidFill>
                  <a:srgbClr val="0070C0"/>
                </a:solidFill>
                <a:latin typeface="Arial"/>
              </a:rPr>
              <a:t>ODNs to have greater influence over services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address local quality issue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5EB8"/>
              </a:buClr>
              <a:buSzPct val="100000"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97DC262-A474-4503-B238-E237F4A41C9A}"/>
              </a:ext>
            </a:extLst>
          </p:cNvPr>
          <p:cNvGrpSpPr/>
          <p:nvPr/>
        </p:nvGrpSpPr>
        <p:grpSpPr bwMode="gray">
          <a:xfrm>
            <a:off x="3399712" y="964842"/>
            <a:ext cx="4925138" cy="5512881"/>
            <a:chOff x="339725" y="812800"/>
            <a:chExt cx="4909990" cy="5495925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C6E86490-6483-4E0E-BA61-9CB06EBA8B50}"/>
                </a:ext>
              </a:extLst>
            </p:cNvPr>
            <p:cNvGrpSpPr/>
            <p:nvPr/>
          </p:nvGrpSpPr>
          <p:grpSpPr bwMode="gray">
            <a:xfrm>
              <a:off x="339725" y="812800"/>
              <a:ext cx="4559300" cy="5495925"/>
              <a:chOff x="1476375" y="812800"/>
              <a:chExt cx="4559299" cy="5495925"/>
            </a:xfrm>
            <a:solidFill>
              <a:schemeClr val="bg1">
                <a:lumMod val="95000"/>
              </a:schemeClr>
            </a:solidFill>
          </p:grpSpPr>
          <p:sp>
            <p:nvSpPr>
              <p:cNvPr id="80" name="Freeform 14">
                <a:extLst>
                  <a:ext uri="{FF2B5EF4-FFF2-40B4-BE49-F238E27FC236}">
                    <a16:creationId xmlns:a16="http://schemas.microsoft.com/office/drawing/2014/main" id="{D2269069-F493-4FA7-A635-09EFA80B079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025775" y="812800"/>
                <a:ext cx="1747837" cy="1714500"/>
              </a:xfrm>
              <a:custGeom>
                <a:avLst/>
                <a:gdLst>
                  <a:gd name="T0" fmla="*/ 557 w 1101"/>
                  <a:gd name="T1" fmla="*/ 33 h 1080"/>
                  <a:gd name="T2" fmla="*/ 731 w 1101"/>
                  <a:gd name="T3" fmla="*/ 411 h 1080"/>
                  <a:gd name="T4" fmla="*/ 734 w 1101"/>
                  <a:gd name="T5" fmla="*/ 309 h 1080"/>
                  <a:gd name="T6" fmla="*/ 718 w 1101"/>
                  <a:gd name="T7" fmla="*/ 258 h 1080"/>
                  <a:gd name="T8" fmla="*/ 701 w 1101"/>
                  <a:gd name="T9" fmla="*/ 144 h 1080"/>
                  <a:gd name="T10" fmla="*/ 616 w 1101"/>
                  <a:gd name="T11" fmla="*/ 72 h 1080"/>
                  <a:gd name="T12" fmla="*/ 511 w 1101"/>
                  <a:gd name="T13" fmla="*/ 67 h 1080"/>
                  <a:gd name="T14" fmla="*/ 494 w 1101"/>
                  <a:gd name="T15" fmla="*/ 174 h 1080"/>
                  <a:gd name="T16" fmla="*/ 460 w 1101"/>
                  <a:gd name="T17" fmla="*/ 266 h 1080"/>
                  <a:gd name="T18" fmla="*/ 355 w 1101"/>
                  <a:gd name="T19" fmla="*/ 350 h 1080"/>
                  <a:gd name="T20" fmla="*/ 254 w 1101"/>
                  <a:gd name="T21" fmla="*/ 452 h 1080"/>
                  <a:gd name="T22" fmla="*/ 210 w 1101"/>
                  <a:gd name="T23" fmla="*/ 519 h 1080"/>
                  <a:gd name="T24" fmla="*/ 182 w 1101"/>
                  <a:gd name="T25" fmla="*/ 531 h 1080"/>
                  <a:gd name="T26" fmla="*/ 223 w 1101"/>
                  <a:gd name="T27" fmla="*/ 539 h 1080"/>
                  <a:gd name="T28" fmla="*/ 128 w 1101"/>
                  <a:gd name="T29" fmla="*/ 560 h 1080"/>
                  <a:gd name="T30" fmla="*/ 130 w 1101"/>
                  <a:gd name="T31" fmla="*/ 569 h 1080"/>
                  <a:gd name="T32" fmla="*/ 121 w 1101"/>
                  <a:gd name="T33" fmla="*/ 575 h 1080"/>
                  <a:gd name="T34" fmla="*/ 105 w 1101"/>
                  <a:gd name="T35" fmla="*/ 569 h 1080"/>
                  <a:gd name="T36" fmla="*/ 46 w 1101"/>
                  <a:gd name="T37" fmla="*/ 674 h 1080"/>
                  <a:gd name="T38" fmla="*/ 16 w 1101"/>
                  <a:gd name="T39" fmla="*/ 776 h 1080"/>
                  <a:gd name="T40" fmla="*/ 74 w 1101"/>
                  <a:gd name="T41" fmla="*/ 893 h 1080"/>
                  <a:gd name="T42" fmla="*/ 79 w 1101"/>
                  <a:gd name="T43" fmla="*/ 937 h 1080"/>
                  <a:gd name="T44" fmla="*/ 135 w 1101"/>
                  <a:gd name="T45" fmla="*/ 975 h 1080"/>
                  <a:gd name="T46" fmla="*/ 143 w 1101"/>
                  <a:gd name="T47" fmla="*/ 952 h 1080"/>
                  <a:gd name="T48" fmla="*/ 149 w 1101"/>
                  <a:gd name="T49" fmla="*/ 994 h 1080"/>
                  <a:gd name="T50" fmla="*/ 164 w 1101"/>
                  <a:gd name="T51" fmla="*/ 1057 h 1080"/>
                  <a:gd name="T52" fmla="*/ 207 w 1101"/>
                  <a:gd name="T53" fmla="*/ 967 h 1080"/>
                  <a:gd name="T54" fmla="*/ 217 w 1101"/>
                  <a:gd name="T55" fmla="*/ 985 h 1080"/>
                  <a:gd name="T56" fmla="*/ 233 w 1101"/>
                  <a:gd name="T57" fmla="*/ 1017 h 1080"/>
                  <a:gd name="T58" fmla="*/ 282 w 1101"/>
                  <a:gd name="T59" fmla="*/ 975 h 1080"/>
                  <a:gd name="T60" fmla="*/ 284 w 1101"/>
                  <a:gd name="T61" fmla="*/ 983 h 1080"/>
                  <a:gd name="T62" fmla="*/ 317 w 1101"/>
                  <a:gd name="T63" fmla="*/ 1004 h 1080"/>
                  <a:gd name="T64" fmla="*/ 379 w 1101"/>
                  <a:gd name="T65" fmla="*/ 1014 h 1080"/>
                  <a:gd name="T66" fmla="*/ 430 w 1101"/>
                  <a:gd name="T67" fmla="*/ 1017 h 1080"/>
                  <a:gd name="T68" fmla="*/ 555 w 1101"/>
                  <a:gd name="T69" fmla="*/ 988 h 1080"/>
                  <a:gd name="T70" fmla="*/ 690 w 1101"/>
                  <a:gd name="T71" fmla="*/ 957 h 1080"/>
                  <a:gd name="T72" fmla="*/ 751 w 1101"/>
                  <a:gd name="T73" fmla="*/ 983 h 1080"/>
                  <a:gd name="T74" fmla="*/ 818 w 1101"/>
                  <a:gd name="T75" fmla="*/ 1013 h 1080"/>
                  <a:gd name="T76" fmla="*/ 867 w 1101"/>
                  <a:gd name="T77" fmla="*/ 985 h 1080"/>
                  <a:gd name="T78" fmla="*/ 875 w 1101"/>
                  <a:gd name="T79" fmla="*/ 896 h 1080"/>
                  <a:gd name="T80" fmla="*/ 1005 w 1101"/>
                  <a:gd name="T81" fmla="*/ 891 h 1080"/>
                  <a:gd name="T82" fmla="*/ 1092 w 1101"/>
                  <a:gd name="T83" fmla="*/ 842 h 1080"/>
                  <a:gd name="T84" fmla="*/ 1020 w 1101"/>
                  <a:gd name="T85" fmla="*/ 789 h 1080"/>
                  <a:gd name="T86" fmla="*/ 897 w 1101"/>
                  <a:gd name="T87" fmla="*/ 733 h 1080"/>
                  <a:gd name="T88" fmla="*/ 826 w 1101"/>
                  <a:gd name="T89" fmla="*/ 766 h 1080"/>
                  <a:gd name="T90" fmla="*/ 848 w 1101"/>
                  <a:gd name="T91" fmla="*/ 728 h 1080"/>
                  <a:gd name="T92" fmla="*/ 859 w 1101"/>
                  <a:gd name="T93" fmla="*/ 685 h 1080"/>
                  <a:gd name="T94" fmla="*/ 805 w 1101"/>
                  <a:gd name="T95" fmla="*/ 587 h 1080"/>
                  <a:gd name="T96" fmla="*/ 760 w 1101"/>
                  <a:gd name="T97" fmla="*/ 560 h 1080"/>
                  <a:gd name="T98" fmla="*/ 787 w 1101"/>
                  <a:gd name="T99" fmla="*/ 506 h 1080"/>
                  <a:gd name="T100" fmla="*/ 749 w 1101"/>
                  <a:gd name="T101" fmla="*/ 509 h 1080"/>
                  <a:gd name="T102" fmla="*/ 731 w 1101"/>
                  <a:gd name="T103" fmla="*/ 562 h 1080"/>
                  <a:gd name="T104" fmla="*/ 675 w 1101"/>
                  <a:gd name="T105" fmla="*/ 557 h 1080"/>
                  <a:gd name="T106" fmla="*/ 657 w 1101"/>
                  <a:gd name="T107" fmla="*/ 513 h 1080"/>
                  <a:gd name="T108" fmla="*/ 705 w 1101"/>
                  <a:gd name="T109" fmla="*/ 472 h 1080"/>
                  <a:gd name="T110" fmla="*/ 737 w 1101"/>
                  <a:gd name="T111" fmla="*/ 511 h 1080"/>
                  <a:gd name="T112" fmla="*/ 769 w 1101"/>
                  <a:gd name="T113" fmla="*/ 458 h 1080"/>
                  <a:gd name="T114" fmla="*/ 711 w 1101"/>
                  <a:gd name="T115" fmla="*/ 102 h 1080"/>
                  <a:gd name="T116" fmla="*/ 695 w 1101"/>
                  <a:gd name="T117" fmla="*/ 120 h 1080"/>
                  <a:gd name="T118" fmla="*/ 874 w 1101"/>
                  <a:gd name="T119" fmla="*/ 725 h 1080"/>
                  <a:gd name="T120" fmla="*/ 153 w 1101"/>
                  <a:gd name="T121" fmla="*/ 1075 h 1080"/>
                  <a:gd name="T122" fmla="*/ 131 w 1101"/>
                  <a:gd name="T123" fmla="*/ 1022 h 1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01" h="1080">
                    <a:moveTo>
                      <a:pt x="557" y="33"/>
                    </a:moveTo>
                    <a:lnTo>
                      <a:pt x="560" y="31"/>
                    </a:lnTo>
                    <a:lnTo>
                      <a:pt x="553" y="29"/>
                    </a:lnTo>
                    <a:lnTo>
                      <a:pt x="562" y="31"/>
                    </a:lnTo>
                    <a:lnTo>
                      <a:pt x="562" y="26"/>
                    </a:lnTo>
                    <a:lnTo>
                      <a:pt x="563" y="24"/>
                    </a:lnTo>
                    <a:lnTo>
                      <a:pt x="570" y="23"/>
                    </a:lnTo>
                    <a:lnTo>
                      <a:pt x="573" y="24"/>
                    </a:lnTo>
                    <a:lnTo>
                      <a:pt x="573" y="28"/>
                    </a:lnTo>
                    <a:lnTo>
                      <a:pt x="578" y="26"/>
                    </a:lnTo>
                    <a:lnTo>
                      <a:pt x="578" y="28"/>
                    </a:lnTo>
                    <a:lnTo>
                      <a:pt x="581" y="28"/>
                    </a:lnTo>
                    <a:lnTo>
                      <a:pt x="578" y="28"/>
                    </a:lnTo>
                    <a:lnTo>
                      <a:pt x="576" y="21"/>
                    </a:lnTo>
                    <a:lnTo>
                      <a:pt x="578" y="19"/>
                    </a:lnTo>
                    <a:lnTo>
                      <a:pt x="575" y="18"/>
                    </a:lnTo>
                    <a:lnTo>
                      <a:pt x="575" y="15"/>
                    </a:lnTo>
                    <a:lnTo>
                      <a:pt x="570" y="10"/>
                    </a:lnTo>
                    <a:lnTo>
                      <a:pt x="565" y="3"/>
                    </a:lnTo>
                    <a:lnTo>
                      <a:pt x="563" y="0"/>
                    </a:lnTo>
                    <a:lnTo>
                      <a:pt x="557" y="5"/>
                    </a:lnTo>
                    <a:lnTo>
                      <a:pt x="553" y="5"/>
                    </a:lnTo>
                    <a:lnTo>
                      <a:pt x="549" y="10"/>
                    </a:lnTo>
                    <a:lnTo>
                      <a:pt x="545" y="10"/>
                    </a:lnTo>
                    <a:lnTo>
                      <a:pt x="545" y="29"/>
                    </a:lnTo>
                    <a:lnTo>
                      <a:pt x="552" y="31"/>
                    </a:lnTo>
                    <a:lnTo>
                      <a:pt x="555" y="31"/>
                    </a:lnTo>
                    <a:lnTo>
                      <a:pt x="557" y="33"/>
                    </a:lnTo>
                    <a:close/>
                    <a:moveTo>
                      <a:pt x="762" y="449"/>
                    </a:moveTo>
                    <a:lnTo>
                      <a:pt x="760" y="449"/>
                    </a:lnTo>
                    <a:lnTo>
                      <a:pt x="759" y="450"/>
                    </a:lnTo>
                    <a:lnTo>
                      <a:pt x="759" y="452"/>
                    </a:lnTo>
                    <a:lnTo>
                      <a:pt x="759" y="454"/>
                    </a:lnTo>
                    <a:lnTo>
                      <a:pt x="760" y="454"/>
                    </a:lnTo>
                    <a:lnTo>
                      <a:pt x="759" y="454"/>
                    </a:lnTo>
                    <a:lnTo>
                      <a:pt x="759" y="452"/>
                    </a:lnTo>
                    <a:lnTo>
                      <a:pt x="759" y="450"/>
                    </a:lnTo>
                    <a:lnTo>
                      <a:pt x="759" y="449"/>
                    </a:lnTo>
                    <a:lnTo>
                      <a:pt x="760" y="449"/>
                    </a:lnTo>
                    <a:lnTo>
                      <a:pt x="759" y="449"/>
                    </a:lnTo>
                    <a:lnTo>
                      <a:pt x="752" y="439"/>
                    </a:lnTo>
                    <a:lnTo>
                      <a:pt x="752" y="432"/>
                    </a:lnTo>
                    <a:lnTo>
                      <a:pt x="752" y="427"/>
                    </a:lnTo>
                    <a:lnTo>
                      <a:pt x="752" y="429"/>
                    </a:lnTo>
                    <a:lnTo>
                      <a:pt x="752" y="427"/>
                    </a:lnTo>
                    <a:lnTo>
                      <a:pt x="752" y="424"/>
                    </a:lnTo>
                    <a:lnTo>
                      <a:pt x="751" y="424"/>
                    </a:lnTo>
                    <a:lnTo>
                      <a:pt x="749" y="422"/>
                    </a:lnTo>
                    <a:lnTo>
                      <a:pt x="746" y="419"/>
                    </a:lnTo>
                    <a:lnTo>
                      <a:pt x="741" y="417"/>
                    </a:lnTo>
                    <a:lnTo>
                      <a:pt x="736" y="419"/>
                    </a:lnTo>
                    <a:lnTo>
                      <a:pt x="731" y="419"/>
                    </a:lnTo>
                    <a:lnTo>
                      <a:pt x="728" y="421"/>
                    </a:lnTo>
                    <a:lnTo>
                      <a:pt x="731" y="419"/>
                    </a:lnTo>
                    <a:lnTo>
                      <a:pt x="739" y="416"/>
                    </a:lnTo>
                    <a:lnTo>
                      <a:pt x="731" y="411"/>
                    </a:lnTo>
                    <a:lnTo>
                      <a:pt x="739" y="416"/>
                    </a:lnTo>
                    <a:lnTo>
                      <a:pt x="744" y="414"/>
                    </a:lnTo>
                    <a:lnTo>
                      <a:pt x="744" y="412"/>
                    </a:lnTo>
                    <a:lnTo>
                      <a:pt x="749" y="421"/>
                    </a:lnTo>
                    <a:lnTo>
                      <a:pt x="751" y="422"/>
                    </a:lnTo>
                    <a:lnTo>
                      <a:pt x="756" y="429"/>
                    </a:lnTo>
                    <a:lnTo>
                      <a:pt x="751" y="421"/>
                    </a:lnTo>
                    <a:lnTo>
                      <a:pt x="746" y="412"/>
                    </a:lnTo>
                    <a:lnTo>
                      <a:pt x="742" y="403"/>
                    </a:lnTo>
                    <a:lnTo>
                      <a:pt x="737" y="403"/>
                    </a:lnTo>
                    <a:lnTo>
                      <a:pt x="737" y="401"/>
                    </a:lnTo>
                    <a:lnTo>
                      <a:pt x="742" y="401"/>
                    </a:lnTo>
                    <a:lnTo>
                      <a:pt x="746" y="394"/>
                    </a:lnTo>
                    <a:lnTo>
                      <a:pt x="746" y="391"/>
                    </a:lnTo>
                    <a:lnTo>
                      <a:pt x="746" y="389"/>
                    </a:lnTo>
                    <a:lnTo>
                      <a:pt x="747" y="388"/>
                    </a:lnTo>
                    <a:lnTo>
                      <a:pt x="751" y="388"/>
                    </a:lnTo>
                    <a:lnTo>
                      <a:pt x="749" y="384"/>
                    </a:lnTo>
                    <a:lnTo>
                      <a:pt x="751" y="381"/>
                    </a:lnTo>
                    <a:lnTo>
                      <a:pt x="747" y="378"/>
                    </a:lnTo>
                    <a:lnTo>
                      <a:pt x="744" y="375"/>
                    </a:lnTo>
                    <a:lnTo>
                      <a:pt x="741" y="365"/>
                    </a:lnTo>
                    <a:lnTo>
                      <a:pt x="742" y="361"/>
                    </a:lnTo>
                    <a:lnTo>
                      <a:pt x="733" y="350"/>
                    </a:lnTo>
                    <a:lnTo>
                      <a:pt x="726" y="332"/>
                    </a:lnTo>
                    <a:lnTo>
                      <a:pt x="726" y="322"/>
                    </a:lnTo>
                    <a:lnTo>
                      <a:pt x="729" y="315"/>
                    </a:lnTo>
                    <a:lnTo>
                      <a:pt x="734" y="309"/>
                    </a:lnTo>
                    <a:lnTo>
                      <a:pt x="734" y="304"/>
                    </a:lnTo>
                    <a:lnTo>
                      <a:pt x="729" y="299"/>
                    </a:lnTo>
                    <a:lnTo>
                      <a:pt x="728" y="296"/>
                    </a:lnTo>
                    <a:lnTo>
                      <a:pt x="726" y="292"/>
                    </a:lnTo>
                    <a:lnTo>
                      <a:pt x="721" y="294"/>
                    </a:lnTo>
                    <a:lnTo>
                      <a:pt x="713" y="289"/>
                    </a:lnTo>
                    <a:lnTo>
                      <a:pt x="713" y="286"/>
                    </a:lnTo>
                    <a:lnTo>
                      <a:pt x="710" y="289"/>
                    </a:lnTo>
                    <a:lnTo>
                      <a:pt x="713" y="286"/>
                    </a:lnTo>
                    <a:lnTo>
                      <a:pt x="713" y="289"/>
                    </a:lnTo>
                    <a:lnTo>
                      <a:pt x="718" y="292"/>
                    </a:lnTo>
                    <a:lnTo>
                      <a:pt x="718" y="289"/>
                    </a:lnTo>
                    <a:lnTo>
                      <a:pt x="723" y="294"/>
                    </a:lnTo>
                    <a:lnTo>
                      <a:pt x="726" y="292"/>
                    </a:lnTo>
                    <a:lnTo>
                      <a:pt x="723" y="292"/>
                    </a:lnTo>
                    <a:lnTo>
                      <a:pt x="719" y="289"/>
                    </a:lnTo>
                    <a:lnTo>
                      <a:pt x="714" y="271"/>
                    </a:lnTo>
                    <a:lnTo>
                      <a:pt x="713" y="264"/>
                    </a:lnTo>
                    <a:lnTo>
                      <a:pt x="711" y="264"/>
                    </a:lnTo>
                    <a:lnTo>
                      <a:pt x="711" y="268"/>
                    </a:lnTo>
                    <a:lnTo>
                      <a:pt x="708" y="261"/>
                    </a:lnTo>
                    <a:lnTo>
                      <a:pt x="708" y="259"/>
                    </a:lnTo>
                    <a:lnTo>
                      <a:pt x="710" y="261"/>
                    </a:lnTo>
                    <a:lnTo>
                      <a:pt x="710" y="258"/>
                    </a:lnTo>
                    <a:lnTo>
                      <a:pt x="710" y="261"/>
                    </a:lnTo>
                    <a:lnTo>
                      <a:pt x="708" y="261"/>
                    </a:lnTo>
                    <a:lnTo>
                      <a:pt x="711" y="264"/>
                    </a:lnTo>
                    <a:lnTo>
                      <a:pt x="718" y="258"/>
                    </a:lnTo>
                    <a:lnTo>
                      <a:pt x="718" y="253"/>
                    </a:lnTo>
                    <a:lnTo>
                      <a:pt x="723" y="250"/>
                    </a:lnTo>
                    <a:lnTo>
                      <a:pt x="723" y="243"/>
                    </a:lnTo>
                    <a:lnTo>
                      <a:pt x="724" y="235"/>
                    </a:lnTo>
                    <a:lnTo>
                      <a:pt x="721" y="233"/>
                    </a:lnTo>
                    <a:lnTo>
                      <a:pt x="718" y="230"/>
                    </a:lnTo>
                    <a:lnTo>
                      <a:pt x="721" y="227"/>
                    </a:lnTo>
                    <a:lnTo>
                      <a:pt x="718" y="220"/>
                    </a:lnTo>
                    <a:lnTo>
                      <a:pt x="719" y="217"/>
                    </a:lnTo>
                    <a:lnTo>
                      <a:pt x="718" y="210"/>
                    </a:lnTo>
                    <a:lnTo>
                      <a:pt x="719" y="197"/>
                    </a:lnTo>
                    <a:lnTo>
                      <a:pt x="718" y="199"/>
                    </a:lnTo>
                    <a:lnTo>
                      <a:pt x="711" y="194"/>
                    </a:lnTo>
                    <a:lnTo>
                      <a:pt x="711" y="187"/>
                    </a:lnTo>
                    <a:lnTo>
                      <a:pt x="710" y="184"/>
                    </a:lnTo>
                    <a:lnTo>
                      <a:pt x="713" y="179"/>
                    </a:lnTo>
                    <a:lnTo>
                      <a:pt x="710" y="179"/>
                    </a:lnTo>
                    <a:lnTo>
                      <a:pt x="710" y="176"/>
                    </a:lnTo>
                    <a:lnTo>
                      <a:pt x="706" y="176"/>
                    </a:lnTo>
                    <a:lnTo>
                      <a:pt x="703" y="167"/>
                    </a:lnTo>
                    <a:lnTo>
                      <a:pt x="705" y="161"/>
                    </a:lnTo>
                    <a:lnTo>
                      <a:pt x="710" y="161"/>
                    </a:lnTo>
                    <a:lnTo>
                      <a:pt x="706" y="159"/>
                    </a:lnTo>
                    <a:lnTo>
                      <a:pt x="706" y="158"/>
                    </a:lnTo>
                    <a:lnTo>
                      <a:pt x="705" y="156"/>
                    </a:lnTo>
                    <a:lnTo>
                      <a:pt x="700" y="146"/>
                    </a:lnTo>
                    <a:lnTo>
                      <a:pt x="698" y="148"/>
                    </a:lnTo>
                    <a:lnTo>
                      <a:pt x="701" y="144"/>
                    </a:lnTo>
                    <a:lnTo>
                      <a:pt x="698" y="141"/>
                    </a:lnTo>
                    <a:lnTo>
                      <a:pt x="693" y="139"/>
                    </a:lnTo>
                    <a:lnTo>
                      <a:pt x="688" y="133"/>
                    </a:lnTo>
                    <a:lnTo>
                      <a:pt x="683" y="126"/>
                    </a:lnTo>
                    <a:lnTo>
                      <a:pt x="675" y="123"/>
                    </a:lnTo>
                    <a:lnTo>
                      <a:pt x="673" y="120"/>
                    </a:lnTo>
                    <a:lnTo>
                      <a:pt x="665" y="120"/>
                    </a:lnTo>
                    <a:lnTo>
                      <a:pt x="660" y="123"/>
                    </a:lnTo>
                    <a:lnTo>
                      <a:pt x="657" y="130"/>
                    </a:lnTo>
                    <a:lnTo>
                      <a:pt x="654" y="121"/>
                    </a:lnTo>
                    <a:lnTo>
                      <a:pt x="650" y="121"/>
                    </a:lnTo>
                    <a:lnTo>
                      <a:pt x="655" y="120"/>
                    </a:lnTo>
                    <a:lnTo>
                      <a:pt x="659" y="115"/>
                    </a:lnTo>
                    <a:lnTo>
                      <a:pt x="652" y="103"/>
                    </a:lnTo>
                    <a:lnTo>
                      <a:pt x="649" y="102"/>
                    </a:lnTo>
                    <a:lnTo>
                      <a:pt x="645" y="108"/>
                    </a:lnTo>
                    <a:lnTo>
                      <a:pt x="641" y="110"/>
                    </a:lnTo>
                    <a:lnTo>
                      <a:pt x="632" y="105"/>
                    </a:lnTo>
                    <a:lnTo>
                      <a:pt x="629" y="102"/>
                    </a:lnTo>
                    <a:lnTo>
                      <a:pt x="631" y="102"/>
                    </a:lnTo>
                    <a:lnTo>
                      <a:pt x="629" y="98"/>
                    </a:lnTo>
                    <a:lnTo>
                      <a:pt x="621" y="90"/>
                    </a:lnTo>
                    <a:lnTo>
                      <a:pt x="622" y="90"/>
                    </a:lnTo>
                    <a:lnTo>
                      <a:pt x="619" y="84"/>
                    </a:lnTo>
                    <a:lnTo>
                      <a:pt x="619" y="79"/>
                    </a:lnTo>
                    <a:lnTo>
                      <a:pt x="616" y="79"/>
                    </a:lnTo>
                    <a:lnTo>
                      <a:pt x="618" y="77"/>
                    </a:lnTo>
                    <a:lnTo>
                      <a:pt x="616" y="72"/>
                    </a:lnTo>
                    <a:lnTo>
                      <a:pt x="606" y="65"/>
                    </a:lnTo>
                    <a:lnTo>
                      <a:pt x="604" y="61"/>
                    </a:lnTo>
                    <a:lnTo>
                      <a:pt x="590" y="47"/>
                    </a:lnTo>
                    <a:lnTo>
                      <a:pt x="588" y="44"/>
                    </a:lnTo>
                    <a:lnTo>
                      <a:pt x="581" y="36"/>
                    </a:lnTo>
                    <a:lnTo>
                      <a:pt x="578" y="31"/>
                    </a:lnTo>
                    <a:lnTo>
                      <a:pt x="575" y="29"/>
                    </a:lnTo>
                    <a:lnTo>
                      <a:pt x="573" y="29"/>
                    </a:lnTo>
                    <a:lnTo>
                      <a:pt x="570" y="24"/>
                    </a:lnTo>
                    <a:lnTo>
                      <a:pt x="567" y="24"/>
                    </a:lnTo>
                    <a:lnTo>
                      <a:pt x="565" y="26"/>
                    </a:lnTo>
                    <a:lnTo>
                      <a:pt x="567" y="24"/>
                    </a:lnTo>
                    <a:lnTo>
                      <a:pt x="565" y="24"/>
                    </a:lnTo>
                    <a:lnTo>
                      <a:pt x="562" y="31"/>
                    </a:lnTo>
                    <a:lnTo>
                      <a:pt x="560" y="33"/>
                    </a:lnTo>
                    <a:lnTo>
                      <a:pt x="557" y="33"/>
                    </a:lnTo>
                    <a:lnTo>
                      <a:pt x="545" y="29"/>
                    </a:lnTo>
                    <a:lnTo>
                      <a:pt x="537" y="31"/>
                    </a:lnTo>
                    <a:lnTo>
                      <a:pt x="539" y="39"/>
                    </a:lnTo>
                    <a:lnTo>
                      <a:pt x="535" y="39"/>
                    </a:lnTo>
                    <a:lnTo>
                      <a:pt x="534" y="44"/>
                    </a:lnTo>
                    <a:lnTo>
                      <a:pt x="526" y="44"/>
                    </a:lnTo>
                    <a:lnTo>
                      <a:pt x="522" y="46"/>
                    </a:lnTo>
                    <a:lnTo>
                      <a:pt x="522" y="54"/>
                    </a:lnTo>
                    <a:lnTo>
                      <a:pt x="517" y="54"/>
                    </a:lnTo>
                    <a:lnTo>
                      <a:pt x="514" y="57"/>
                    </a:lnTo>
                    <a:lnTo>
                      <a:pt x="517" y="65"/>
                    </a:lnTo>
                    <a:lnTo>
                      <a:pt x="511" y="67"/>
                    </a:lnTo>
                    <a:lnTo>
                      <a:pt x="506" y="75"/>
                    </a:lnTo>
                    <a:lnTo>
                      <a:pt x="499" y="84"/>
                    </a:lnTo>
                    <a:lnTo>
                      <a:pt x="499" y="90"/>
                    </a:lnTo>
                    <a:lnTo>
                      <a:pt x="494" y="92"/>
                    </a:lnTo>
                    <a:lnTo>
                      <a:pt x="488" y="98"/>
                    </a:lnTo>
                    <a:lnTo>
                      <a:pt x="493" y="102"/>
                    </a:lnTo>
                    <a:lnTo>
                      <a:pt x="493" y="105"/>
                    </a:lnTo>
                    <a:lnTo>
                      <a:pt x="489" y="107"/>
                    </a:lnTo>
                    <a:lnTo>
                      <a:pt x="486" y="103"/>
                    </a:lnTo>
                    <a:lnTo>
                      <a:pt x="478" y="103"/>
                    </a:lnTo>
                    <a:lnTo>
                      <a:pt x="468" y="102"/>
                    </a:lnTo>
                    <a:lnTo>
                      <a:pt x="461" y="103"/>
                    </a:lnTo>
                    <a:lnTo>
                      <a:pt x="461" y="108"/>
                    </a:lnTo>
                    <a:lnTo>
                      <a:pt x="458" y="110"/>
                    </a:lnTo>
                    <a:lnTo>
                      <a:pt x="461" y="115"/>
                    </a:lnTo>
                    <a:lnTo>
                      <a:pt x="466" y="113"/>
                    </a:lnTo>
                    <a:lnTo>
                      <a:pt x="466" y="116"/>
                    </a:lnTo>
                    <a:lnTo>
                      <a:pt x="465" y="118"/>
                    </a:lnTo>
                    <a:lnTo>
                      <a:pt x="468" y="123"/>
                    </a:lnTo>
                    <a:lnTo>
                      <a:pt x="471" y="125"/>
                    </a:lnTo>
                    <a:lnTo>
                      <a:pt x="475" y="128"/>
                    </a:lnTo>
                    <a:lnTo>
                      <a:pt x="475" y="133"/>
                    </a:lnTo>
                    <a:lnTo>
                      <a:pt x="473" y="139"/>
                    </a:lnTo>
                    <a:lnTo>
                      <a:pt x="475" y="143"/>
                    </a:lnTo>
                    <a:lnTo>
                      <a:pt x="488" y="158"/>
                    </a:lnTo>
                    <a:lnTo>
                      <a:pt x="491" y="158"/>
                    </a:lnTo>
                    <a:lnTo>
                      <a:pt x="494" y="166"/>
                    </a:lnTo>
                    <a:lnTo>
                      <a:pt x="494" y="174"/>
                    </a:lnTo>
                    <a:lnTo>
                      <a:pt x="496" y="176"/>
                    </a:lnTo>
                    <a:lnTo>
                      <a:pt x="496" y="179"/>
                    </a:lnTo>
                    <a:lnTo>
                      <a:pt x="494" y="187"/>
                    </a:lnTo>
                    <a:lnTo>
                      <a:pt x="499" y="189"/>
                    </a:lnTo>
                    <a:lnTo>
                      <a:pt x="504" y="199"/>
                    </a:lnTo>
                    <a:lnTo>
                      <a:pt x="503" y="204"/>
                    </a:lnTo>
                    <a:lnTo>
                      <a:pt x="504" y="209"/>
                    </a:lnTo>
                    <a:lnTo>
                      <a:pt x="514" y="210"/>
                    </a:lnTo>
                    <a:lnTo>
                      <a:pt x="517" y="212"/>
                    </a:lnTo>
                    <a:lnTo>
                      <a:pt x="509" y="217"/>
                    </a:lnTo>
                    <a:lnTo>
                      <a:pt x="507" y="227"/>
                    </a:lnTo>
                    <a:lnTo>
                      <a:pt x="494" y="236"/>
                    </a:lnTo>
                    <a:lnTo>
                      <a:pt x="491" y="235"/>
                    </a:lnTo>
                    <a:lnTo>
                      <a:pt x="484" y="235"/>
                    </a:lnTo>
                    <a:lnTo>
                      <a:pt x="483" y="236"/>
                    </a:lnTo>
                    <a:lnTo>
                      <a:pt x="481" y="236"/>
                    </a:lnTo>
                    <a:lnTo>
                      <a:pt x="480" y="238"/>
                    </a:lnTo>
                    <a:lnTo>
                      <a:pt x="471" y="241"/>
                    </a:lnTo>
                    <a:lnTo>
                      <a:pt x="471" y="245"/>
                    </a:lnTo>
                    <a:lnTo>
                      <a:pt x="466" y="248"/>
                    </a:lnTo>
                    <a:lnTo>
                      <a:pt x="465" y="251"/>
                    </a:lnTo>
                    <a:lnTo>
                      <a:pt x="458" y="248"/>
                    </a:lnTo>
                    <a:lnTo>
                      <a:pt x="458" y="250"/>
                    </a:lnTo>
                    <a:lnTo>
                      <a:pt x="458" y="253"/>
                    </a:lnTo>
                    <a:lnTo>
                      <a:pt x="455" y="255"/>
                    </a:lnTo>
                    <a:lnTo>
                      <a:pt x="458" y="259"/>
                    </a:lnTo>
                    <a:lnTo>
                      <a:pt x="458" y="264"/>
                    </a:lnTo>
                    <a:lnTo>
                      <a:pt x="460" y="266"/>
                    </a:lnTo>
                    <a:lnTo>
                      <a:pt x="453" y="271"/>
                    </a:lnTo>
                    <a:lnTo>
                      <a:pt x="457" y="274"/>
                    </a:lnTo>
                    <a:lnTo>
                      <a:pt x="445" y="283"/>
                    </a:lnTo>
                    <a:lnTo>
                      <a:pt x="442" y="286"/>
                    </a:lnTo>
                    <a:lnTo>
                      <a:pt x="437" y="287"/>
                    </a:lnTo>
                    <a:lnTo>
                      <a:pt x="435" y="287"/>
                    </a:lnTo>
                    <a:lnTo>
                      <a:pt x="435" y="284"/>
                    </a:lnTo>
                    <a:lnTo>
                      <a:pt x="430" y="281"/>
                    </a:lnTo>
                    <a:lnTo>
                      <a:pt x="425" y="281"/>
                    </a:lnTo>
                    <a:lnTo>
                      <a:pt x="419" y="279"/>
                    </a:lnTo>
                    <a:lnTo>
                      <a:pt x="414" y="284"/>
                    </a:lnTo>
                    <a:lnTo>
                      <a:pt x="407" y="284"/>
                    </a:lnTo>
                    <a:lnTo>
                      <a:pt x="402" y="287"/>
                    </a:lnTo>
                    <a:lnTo>
                      <a:pt x="399" y="294"/>
                    </a:lnTo>
                    <a:lnTo>
                      <a:pt x="392" y="302"/>
                    </a:lnTo>
                    <a:lnTo>
                      <a:pt x="389" y="302"/>
                    </a:lnTo>
                    <a:lnTo>
                      <a:pt x="383" y="307"/>
                    </a:lnTo>
                    <a:lnTo>
                      <a:pt x="379" y="306"/>
                    </a:lnTo>
                    <a:lnTo>
                      <a:pt x="379" y="309"/>
                    </a:lnTo>
                    <a:lnTo>
                      <a:pt x="374" y="315"/>
                    </a:lnTo>
                    <a:lnTo>
                      <a:pt x="374" y="319"/>
                    </a:lnTo>
                    <a:lnTo>
                      <a:pt x="361" y="327"/>
                    </a:lnTo>
                    <a:lnTo>
                      <a:pt x="355" y="337"/>
                    </a:lnTo>
                    <a:lnTo>
                      <a:pt x="356" y="340"/>
                    </a:lnTo>
                    <a:lnTo>
                      <a:pt x="348" y="342"/>
                    </a:lnTo>
                    <a:lnTo>
                      <a:pt x="355" y="347"/>
                    </a:lnTo>
                    <a:lnTo>
                      <a:pt x="361" y="348"/>
                    </a:lnTo>
                    <a:lnTo>
                      <a:pt x="355" y="350"/>
                    </a:lnTo>
                    <a:lnTo>
                      <a:pt x="353" y="360"/>
                    </a:lnTo>
                    <a:lnTo>
                      <a:pt x="353" y="363"/>
                    </a:lnTo>
                    <a:lnTo>
                      <a:pt x="348" y="366"/>
                    </a:lnTo>
                    <a:lnTo>
                      <a:pt x="342" y="365"/>
                    </a:lnTo>
                    <a:lnTo>
                      <a:pt x="333" y="384"/>
                    </a:lnTo>
                    <a:lnTo>
                      <a:pt x="328" y="394"/>
                    </a:lnTo>
                    <a:lnTo>
                      <a:pt x="319" y="398"/>
                    </a:lnTo>
                    <a:lnTo>
                      <a:pt x="314" y="404"/>
                    </a:lnTo>
                    <a:lnTo>
                      <a:pt x="304" y="409"/>
                    </a:lnTo>
                    <a:lnTo>
                      <a:pt x="300" y="414"/>
                    </a:lnTo>
                    <a:lnTo>
                      <a:pt x="291" y="417"/>
                    </a:lnTo>
                    <a:lnTo>
                      <a:pt x="286" y="416"/>
                    </a:lnTo>
                    <a:lnTo>
                      <a:pt x="282" y="419"/>
                    </a:lnTo>
                    <a:lnTo>
                      <a:pt x="286" y="424"/>
                    </a:lnTo>
                    <a:lnTo>
                      <a:pt x="282" y="427"/>
                    </a:lnTo>
                    <a:lnTo>
                      <a:pt x="281" y="426"/>
                    </a:lnTo>
                    <a:lnTo>
                      <a:pt x="281" y="429"/>
                    </a:lnTo>
                    <a:lnTo>
                      <a:pt x="279" y="430"/>
                    </a:lnTo>
                    <a:lnTo>
                      <a:pt x="279" y="432"/>
                    </a:lnTo>
                    <a:lnTo>
                      <a:pt x="269" y="435"/>
                    </a:lnTo>
                    <a:lnTo>
                      <a:pt x="268" y="442"/>
                    </a:lnTo>
                    <a:lnTo>
                      <a:pt x="264" y="444"/>
                    </a:lnTo>
                    <a:lnTo>
                      <a:pt x="266" y="444"/>
                    </a:lnTo>
                    <a:lnTo>
                      <a:pt x="266" y="447"/>
                    </a:lnTo>
                    <a:lnTo>
                      <a:pt x="263" y="447"/>
                    </a:lnTo>
                    <a:lnTo>
                      <a:pt x="261" y="454"/>
                    </a:lnTo>
                    <a:lnTo>
                      <a:pt x="256" y="454"/>
                    </a:lnTo>
                    <a:lnTo>
                      <a:pt x="254" y="452"/>
                    </a:lnTo>
                    <a:lnTo>
                      <a:pt x="251" y="458"/>
                    </a:lnTo>
                    <a:lnTo>
                      <a:pt x="245" y="458"/>
                    </a:lnTo>
                    <a:lnTo>
                      <a:pt x="245" y="462"/>
                    </a:lnTo>
                    <a:lnTo>
                      <a:pt x="246" y="465"/>
                    </a:lnTo>
                    <a:lnTo>
                      <a:pt x="240" y="467"/>
                    </a:lnTo>
                    <a:lnTo>
                      <a:pt x="240" y="470"/>
                    </a:lnTo>
                    <a:lnTo>
                      <a:pt x="215" y="467"/>
                    </a:lnTo>
                    <a:lnTo>
                      <a:pt x="210" y="467"/>
                    </a:lnTo>
                    <a:lnTo>
                      <a:pt x="207" y="468"/>
                    </a:lnTo>
                    <a:lnTo>
                      <a:pt x="205" y="472"/>
                    </a:lnTo>
                    <a:lnTo>
                      <a:pt x="208" y="472"/>
                    </a:lnTo>
                    <a:lnTo>
                      <a:pt x="210" y="475"/>
                    </a:lnTo>
                    <a:lnTo>
                      <a:pt x="215" y="478"/>
                    </a:lnTo>
                    <a:lnTo>
                      <a:pt x="212" y="483"/>
                    </a:lnTo>
                    <a:lnTo>
                      <a:pt x="213" y="486"/>
                    </a:lnTo>
                    <a:lnTo>
                      <a:pt x="210" y="486"/>
                    </a:lnTo>
                    <a:lnTo>
                      <a:pt x="210" y="491"/>
                    </a:lnTo>
                    <a:lnTo>
                      <a:pt x="207" y="495"/>
                    </a:lnTo>
                    <a:lnTo>
                      <a:pt x="207" y="496"/>
                    </a:lnTo>
                    <a:lnTo>
                      <a:pt x="208" y="496"/>
                    </a:lnTo>
                    <a:lnTo>
                      <a:pt x="208" y="501"/>
                    </a:lnTo>
                    <a:lnTo>
                      <a:pt x="204" y="506"/>
                    </a:lnTo>
                    <a:lnTo>
                      <a:pt x="205" y="509"/>
                    </a:lnTo>
                    <a:lnTo>
                      <a:pt x="208" y="511"/>
                    </a:lnTo>
                    <a:lnTo>
                      <a:pt x="210" y="513"/>
                    </a:lnTo>
                    <a:lnTo>
                      <a:pt x="207" y="509"/>
                    </a:lnTo>
                    <a:lnTo>
                      <a:pt x="212" y="516"/>
                    </a:lnTo>
                    <a:lnTo>
                      <a:pt x="210" y="519"/>
                    </a:lnTo>
                    <a:lnTo>
                      <a:pt x="222" y="516"/>
                    </a:lnTo>
                    <a:lnTo>
                      <a:pt x="215" y="519"/>
                    </a:lnTo>
                    <a:lnTo>
                      <a:pt x="212" y="521"/>
                    </a:lnTo>
                    <a:lnTo>
                      <a:pt x="210" y="519"/>
                    </a:lnTo>
                    <a:lnTo>
                      <a:pt x="210" y="516"/>
                    </a:lnTo>
                    <a:lnTo>
                      <a:pt x="205" y="516"/>
                    </a:lnTo>
                    <a:lnTo>
                      <a:pt x="207" y="514"/>
                    </a:lnTo>
                    <a:lnTo>
                      <a:pt x="205" y="511"/>
                    </a:lnTo>
                    <a:lnTo>
                      <a:pt x="204" y="514"/>
                    </a:lnTo>
                    <a:lnTo>
                      <a:pt x="204" y="511"/>
                    </a:lnTo>
                    <a:lnTo>
                      <a:pt x="202" y="513"/>
                    </a:lnTo>
                    <a:lnTo>
                      <a:pt x="202" y="514"/>
                    </a:lnTo>
                    <a:lnTo>
                      <a:pt x="202" y="513"/>
                    </a:lnTo>
                    <a:lnTo>
                      <a:pt x="199" y="516"/>
                    </a:lnTo>
                    <a:lnTo>
                      <a:pt x="200" y="518"/>
                    </a:lnTo>
                    <a:lnTo>
                      <a:pt x="199" y="521"/>
                    </a:lnTo>
                    <a:lnTo>
                      <a:pt x="189" y="518"/>
                    </a:lnTo>
                    <a:lnTo>
                      <a:pt x="187" y="521"/>
                    </a:lnTo>
                    <a:lnTo>
                      <a:pt x="190" y="521"/>
                    </a:lnTo>
                    <a:lnTo>
                      <a:pt x="187" y="523"/>
                    </a:lnTo>
                    <a:lnTo>
                      <a:pt x="184" y="524"/>
                    </a:lnTo>
                    <a:lnTo>
                      <a:pt x="184" y="528"/>
                    </a:lnTo>
                    <a:lnTo>
                      <a:pt x="189" y="529"/>
                    </a:lnTo>
                    <a:lnTo>
                      <a:pt x="184" y="529"/>
                    </a:lnTo>
                    <a:lnTo>
                      <a:pt x="187" y="532"/>
                    </a:lnTo>
                    <a:lnTo>
                      <a:pt x="184" y="531"/>
                    </a:lnTo>
                    <a:lnTo>
                      <a:pt x="184" y="534"/>
                    </a:lnTo>
                    <a:lnTo>
                      <a:pt x="182" y="531"/>
                    </a:lnTo>
                    <a:lnTo>
                      <a:pt x="179" y="532"/>
                    </a:lnTo>
                    <a:lnTo>
                      <a:pt x="181" y="537"/>
                    </a:lnTo>
                    <a:lnTo>
                      <a:pt x="179" y="539"/>
                    </a:lnTo>
                    <a:lnTo>
                      <a:pt x="182" y="537"/>
                    </a:lnTo>
                    <a:lnTo>
                      <a:pt x="181" y="539"/>
                    </a:lnTo>
                    <a:lnTo>
                      <a:pt x="184" y="539"/>
                    </a:lnTo>
                    <a:lnTo>
                      <a:pt x="179" y="541"/>
                    </a:lnTo>
                    <a:lnTo>
                      <a:pt x="185" y="542"/>
                    </a:lnTo>
                    <a:lnTo>
                      <a:pt x="192" y="539"/>
                    </a:lnTo>
                    <a:lnTo>
                      <a:pt x="189" y="537"/>
                    </a:lnTo>
                    <a:lnTo>
                      <a:pt x="195" y="537"/>
                    </a:lnTo>
                    <a:lnTo>
                      <a:pt x="199" y="534"/>
                    </a:lnTo>
                    <a:lnTo>
                      <a:pt x="199" y="532"/>
                    </a:lnTo>
                    <a:lnTo>
                      <a:pt x="200" y="532"/>
                    </a:lnTo>
                    <a:lnTo>
                      <a:pt x="197" y="531"/>
                    </a:lnTo>
                    <a:lnTo>
                      <a:pt x="202" y="532"/>
                    </a:lnTo>
                    <a:lnTo>
                      <a:pt x="205" y="529"/>
                    </a:lnTo>
                    <a:lnTo>
                      <a:pt x="205" y="531"/>
                    </a:lnTo>
                    <a:lnTo>
                      <a:pt x="207" y="531"/>
                    </a:lnTo>
                    <a:lnTo>
                      <a:pt x="205" y="531"/>
                    </a:lnTo>
                    <a:lnTo>
                      <a:pt x="208" y="532"/>
                    </a:lnTo>
                    <a:lnTo>
                      <a:pt x="210" y="532"/>
                    </a:lnTo>
                    <a:lnTo>
                      <a:pt x="210" y="534"/>
                    </a:lnTo>
                    <a:lnTo>
                      <a:pt x="222" y="534"/>
                    </a:lnTo>
                    <a:lnTo>
                      <a:pt x="225" y="539"/>
                    </a:lnTo>
                    <a:lnTo>
                      <a:pt x="227" y="541"/>
                    </a:lnTo>
                    <a:lnTo>
                      <a:pt x="222" y="544"/>
                    </a:lnTo>
                    <a:lnTo>
                      <a:pt x="223" y="539"/>
                    </a:lnTo>
                    <a:lnTo>
                      <a:pt x="222" y="534"/>
                    </a:lnTo>
                    <a:lnTo>
                      <a:pt x="208" y="534"/>
                    </a:lnTo>
                    <a:lnTo>
                      <a:pt x="207" y="536"/>
                    </a:lnTo>
                    <a:lnTo>
                      <a:pt x="207" y="534"/>
                    </a:lnTo>
                    <a:lnTo>
                      <a:pt x="202" y="534"/>
                    </a:lnTo>
                    <a:lnTo>
                      <a:pt x="199" y="539"/>
                    </a:lnTo>
                    <a:lnTo>
                      <a:pt x="190" y="542"/>
                    </a:lnTo>
                    <a:lnTo>
                      <a:pt x="187" y="544"/>
                    </a:lnTo>
                    <a:lnTo>
                      <a:pt x="189" y="544"/>
                    </a:lnTo>
                    <a:lnTo>
                      <a:pt x="184" y="546"/>
                    </a:lnTo>
                    <a:lnTo>
                      <a:pt x="182" y="547"/>
                    </a:lnTo>
                    <a:lnTo>
                      <a:pt x="182" y="544"/>
                    </a:lnTo>
                    <a:lnTo>
                      <a:pt x="176" y="546"/>
                    </a:lnTo>
                    <a:lnTo>
                      <a:pt x="171" y="542"/>
                    </a:lnTo>
                    <a:lnTo>
                      <a:pt x="169" y="539"/>
                    </a:lnTo>
                    <a:lnTo>
                      <a:pt x="162" y="536"/>
                    </a:lnTo>
                    <a:lnTo>
                      <a:pt x="159" y="531"/>
                    </a:lnTo>
                    <a:lnTo>
                      <a:pt x="153" y="529"/>
                    </a:lnTo>
                    <a:lnTo>
                      <a:pt x="143" y="529"/>
                    </a:lnTo>
                    <a:lnTo>
                      <a:pt x="138" y="536"/>
                    </a:lnTo>
                    <a:lnTo>
                      <a:pt x="131" y="536"/>
                    </a:lnTo>
                    <a:lnTo>
                      <a:pt x="130" y="539"/>
                    </a:lnTo>
                    <a:lnTo>
                      <a:pt x="131" y="536"/>
                    </a:lnTo>
                    <a:lnTo>
                      <a:pt x="125" y="536"/>
                    </a:lnTo>
                    <a:lnTo>
                      <a:pt x="115" y="551"/>
                    </a:lnTo>
                    <a:lnTo>
                      <a:pt x="115" y="552"/>
                    </a:lnTo>
                    <a:lnTo>
                      <a:pt x="118" y="557"/>
                    </a:lnTo>
                    <a:lnTo>
                      <a:pt x="128" y="560"/>
                    </a:lnTo>
                    <a:lnTo>
                      <a:pt x="138" y="554"/>
                    </a:lnTo>
                    <a:lnTo>
                      <a:pt x="143" y="555"/>
                    </a:lnTo>
                    <a:lnTo>
                      <a:pt x="146" y="560"/>
                    </a:lnTo>
                    <a:lnTo>
                      <a:pt x="149" y="559"/>
                    </a:lnTo>
                    <a:lnTo>
                      <a:pt x="151" y="560"/>
                    </a:lnTo>
                    <a:lnTo>
                      <a:pt x="156" y="555"/>
                    </a:lnTo>
                    <a:lnTo>
                      <a:pt x="151" y="560"/>
                    </a:lnTo>
                    <a:lnTo>
                      <a:pt x="146" y="560"/>
                    </a:lnTo>
                    <a:lnTo>
                      <a:pt x="143" y="557"/>
                    </a:lnTo>
                    <a:lnTo>
                      <a:pt x="138" y="555"/>
                    </a:lnTo>
                    <a:lnTo>
                      <a:pt x="139" y="559"/>
                    </a:lnTo>
                    <a:lnTo>
                      <a:pt x="136" y="555"/>
                    </a:lnTo>
                    <a:lnTo>
                      <a:pt x="135" y="557"/>
                    </a:lnTo>
                    <a:lnTo>
                      <a:pt x="136" y="562"/>
                    </a:lnTo>
                    <a:lnTo>
                      <a:pt x="136" y="564"/>
                    </a:lnTo>
                    <a:lnTo>
                      <a:pt x="136" y="560"/>
                    </a:lnTo>
                    <a:lnTo>
                      <a:pt x="135" y="562"/>
                    </a:lnTo>
                    <a:lnTo>
                      <a:pt x="136" y="565"/>
                    </a:lnTo>
                    <a:lnTo>
                      <a:pt x="135" y="564"/>
                    </a:lnTo>
                    <a:lnTo>
                      <a:pt x="135" y="565"/>
                    </a:lnTo>
                    <a:lnTo>
                      <a:pt x="133" y="565"/>
                    </a:lnTo>
                    <a:lnTo>
                      <a:pt x="131" y="567"/>
                    </a:lnTo>
                    <a:lnTo>
                      <a:pt x="133" y="567"/>
                    </a:lnTo>
                    <a:lnTo>
                      <a:pt x="131" y="569"/>
                    </a:lnTo>
                    <a:lnTo>
                      <a:pt x="133" y="569"/>
                    </a:lnTo>
                    <a:lnTo>
                      <a:pt x="131" y="570"/>
                    </a:lnTo>
                    <a:lnTo>
                      <a:pt x="133" y="569"/>
                    </a:lnTo>
                    <a:lnTo>
                      <a:pt x="130" y="569"/>
                    </a:lnTo>
                    <a:lnTo>
                      <a:pt x="131" y="567"/>
                    </a:lnTo>
                    <a:lnTo>
                      <a:pt x="128" y="570"/>
                    </a:lnTo>
                    <a:lnTo>
                      <a:pt x="130" y="567"/>
                    </a:lnTo>
                    <a:lnTo>
                      <a:pt x="128" y="570"/>
                    </a:lnTo>
                    <a:lnTo>
                      <a:pt x="128" y="569"/>
                    </a:lnTo>
                    <a:lnTo>
                      <a:pt x="126" y="570"/>
                    </a:lnTo>
                    <a:lnTo>
                      <a:pt x="126" y="567"/>
                    </a:lnTo>
                    <a:lnTo>
                      <a:pt x="125" y="569"/>
                    </a:lnTo>
                    <a:lnTo>
                      <a:pt x="126" y="567"/>
                    </a:lnTo>
                    <a:lnTo>
                      <a:pt x="128" y="567"/>
                    </a:lnTo>
                    <a:lnTo>
                      <a:pt x="123" y="567"/>
                    </a:lnTo>
                    <a:lnTo>
                      <a:pt x="126" y="572"/>
                    </a:lnTo>
                    <a:lnTo>
                      <a:pt x="125" y="569"/>
                    </a:lnTo>
                    <a:lnTo>
                      <a:pt x="126" y="572"/>
                    </a:lnTo>
                    <a:lnTo>
                      <a:pt x="125" y="574"/>
                    </a:lnTo>
                    <a:lnTo>
                      <a:pt x="126" y="575"/>
                    </a:lnTo>
                    <a:lnTo>
                      <a:pt x="125" y="580"/>
                    </a:lnTo>
                    <a:lnTo>
                      <a:pt x="126" y="580"/>
                    </a:lnTo>
                    <a:lnTo>
                      <a:pt x="125" y="582"/>
                    </a:lnTo>
                    <a:lnTo>
                      <a:pt x="126" y="585"/>
                    </a:lnTo>
                    <a:lnTo>
                      <a:pt x="125" y="587"/>
                    </a:lnTo>
                    <a:lnTo>
                      <a:pt x="123" y="587"/>
                    </a:lnTo>
                    <a:lnTo>
                      <a:pt x="126" y="585"/>
                    </a:lnTo>
                    <a:lnTo>
                      <a:pt x="123" y="582"/>
                    </a:lnTo>
                    <a:lnTo>
                      <a:pt x="126" y="577"/>
                    </a:lnTo>
                    <a:lnTo>
                      <a:pt x="123" y="574"/>
                    </a:lnTo>
                    <a:lnTo>
                      <a:pt x="125" y="577"/>
                    </a:lnTo>
                    <a:lnTo>
                      <a:pt x="121" y="575"/>
                    </a:lnTo>
                    <a:lnTo>
                      <a:pt x="123" y="578"/>
                    </a:lnTo>
                    <a:lnTo>
                      <a:pt x="118" y="572"/>
                    </a:lnTo>
                    <a:lnTo>
                      <a:pt x="116" y="572"/>
                    </a:lnTo>
                    <a:lnTo>
                      <a:pt x="116" y="570"/>
                    </a:lnTo>
                    <a:lnTo>
                      <a:pt x="116" y="572"/>
                    </a:lnTo>
                    <a:lnTo>
                      <a:pt x="115" y="569"/>
                    </a:lnTo>
                    <a:lnTo>
                      <a:pt x="112" y="570"/>
                    </a:lnTo>
                    <a:lnTo>
                      <a:pt x="112" y="569"/>
                    </a:lnTo>
                    <a:lnTo>
                      <a:pt x="110" y="570"/>
                    </a:lnTo>
                    <a:lnTo>
                      <a:pt x="112" y="569"/>
                    </a:lnTo>
                    <a:lnTo>
                      <a:pt x="108" y="567"/>
                    </a:lnTo>
                    <a:lnTo>
                      <a:pt x="110" y="570"/>
                    </a:lnTo>
                    <a:lnTo>
                      <a:pt x="108" y="569"/>
                    </a:lnTo>
                    <a:lnTo>
                      <a:pt x="105" y="564"/>
                    </a:lnTo>
                    <a:lnTo>
                      <a:pt x="103" y="565"/>
                    </a:lnTo>
                    <a:lnTo>
                      <a:pt x="107" y="569"/>
                    </a:lnTo>
                    <a:lnTo>
                      <a:pt x="103" y="565"/>
                    </a:lnTo>
                    <a:lnTo>
                      <a:pt x="103" y="567"/>
                    </a:lnTo>
                    <a:lnTo>
                      <a:pt x="107" y="569"/>
                    </a:lnTo>
                    <a:lnTo>
                      <a:pt x="103" y="567"/>
                    </a:lnTo>
                    <a:lnTo>
                      <a:pt x="102" y="569"/>
                    </a:lnTo>
                    <a:lnTo>
                      <a:pt x="105" y="569"/>
                    </a:lnTo>
                    <a:lnTo>
                      <a:pt x="105" y="570"/>
                    </a:lnTo>
                    <a:lnTo>
                      <a:pt x="110" y="572"/>
                    </a:lnTo>
                    <a:lnTo>
                      <a:pt x="107" y="570"/>
                    </a:lnTo>
                    <a:lnTo>
                      <a:pt x="105" y="574"/>
                    </a:lnTo>
                    <a:lnTo>
                      <a:pt x="105" y="570"/>
                    </a:lnTo>
                    <a:lnTo>
                      <a:pt x="105" y="569"/>
                    </a:lnTo>
                    <a:lnTo>
                      <a:pt x="102" y="569"/>
                    </a:lnTo>
                    <a:lnTo>
                      <a:pt x="102" y="565"/>
                    </a:lnTo>
                    <a:lnTo>
                      <a:pt x="100" y="567"/>
                    </a:lnTo>
                    <a:lnTo>
                      <a:pt x="102" y="570"/>
                    </a:lnTo>
                    <a:lnTo>
                      <a:pt x="100" y="569"/>
                    </a:lnTo>
                    <a:lnTo>
                      <a:pt x="100" y="570"/>
                    </a:lnTo>
                    <a:lnTo>
                      <a:pt x="98" y="567"/>
                    </a:lnTo>
                    <a:lnTo>
                      <a:pt x="98" y="570"/>
                    </a:lnTo>
                    <a:lnTo>
                      <a:pt x="98" y="567"/>
                    </a:lnTo>
                    <a:lnTo>
                      <a:pt x="102" y="565"/>
                    </a:lnTo>
                    <a:lnTo>
                      <a:pt x="107" y="564"/>
                    </a:lnTo>
                    <a:lnTo>
                      <a:pt x="107" y="562"/>
                    </a:lnTo>
                    <a:lnTo>
                      <a:pt x="95" y="567"/>
                    </a:lnTo>
                    <a:lnTo>
                      <a:pt x="89" y="578"/>
                    </a:lnTo>
                    <a:lnTo>
                      <a:pt x="85" y="580"/>
                    </a:lnTo>
                    <a:lnTo>
                      <a:pt x="87" y="582"/>
                    </a:lnTo>
                    <a:lnTo>
                      <a:pt x="85" y="582"/>
                    </a:lnTo>
                    <a:lnTo>
                      <a:pt x="82" y="592"/>
                    </a:lnTo>
                    <a:lnTo>
                      <a:pt x="80" y="598"/>
                    </a:lnTo>
                    <a:lnTo>
                      <a:pt x="70" y="623"/>
                    </a:lnTo>
                    <a:lnTo>
                      <a:pt x="74" y="634"/>
                    </a:lnTo>
                    <a:lnTo>
                      <a:pt x="72" y="644"/>
                    </a:lnTo>
                    <a:lnTo>
                      <a:pt x="69" y="652"/>
                    </a:lnTo>
                    <a:lnTo>
                      <a:pt x="56" y="664"/>
                    </a:lnTo>
                    <a:lnTo>
                      <a:pt x="52" y="667"/>
                    </a:lnTo>
                    <a:lnTo>
                      <a:pt x="51" y="669"/>
                    </a:lnTo>
                    <a:lnTo>
                      <a:pt x="49" y="674"/>
                    </a:lnTo>
                    <a:lnTo>
                      <a:pt x="46" y="674"/>
                    </a:lnTo>
                    <a:lnTo>
                      <a:pt x="49" y="674"/>
                    </a:lnTo>
                    <a:lnTo>
                      <a:pt x="49" y="675"/>
                    </a:lnTo>
                    <a:lnTo>
                      <a:pt x="46" y="674"/>
                    </a:lnTo>
                    <a:lnTo>
                      <a:pt x="44" y="680"/>
                    </a:lnTo>
                    <a:lnTo>
                      <a:pt x="43" y="689"/>
                    </a:lnTo>
                    <a:lnTo>
                      <a:pt x="38" y="695"/>
                    </a:lnTo>
                    <a:lnTo>
                      <a:pt x="31" y="702"/>
                    </a:lnTo>
                    <a:lnTo>
                      <a:pt x="24" y="713"/>
                    </a:lnTo>
                    <a:lnTo>
                      <a:pt x="28" y="715"/>
                    </a:lnTo>
                    <a:lnTo>
                      <a:pt x="26" y="715"/>
                    </a:lnTo>
                    <a:lnTo>
                      <a:pt x="29" y="717"/>
                    </a:lnTo>
                    <a:lnTo>
                      <a:pt x="28" y="717"/>
                    </a:lnTo>
                    <a:lnTo>
                      <a:pt x="21" y="713"/>
                    </a:lnTo>
                    <a:lnTo>
                      <a:pt x="21" y="715"/>
                    </a:lnTo>
                    <a:lnTo>
                      <a:pt x="23" y="722"/>
                    </a:lnTo>
                    <a:lnTo>
                      <a:pt x="23" y="725"/>
                    </a:lnTo>
                    <a:lnTo>
                      <a:pt x="24" y="731"/>
                    </a:lnTo>
                    <a:lnTo>
                      <a:pt x="24" y="735"/>
                    </a:lnTo>
                    <a:lnTo>
                      <a:pt x="26" y="738"/>
                    </a:lnTo>
                    <a:lnTo>
                      <a:pt x="24" y="736"/>
                    </a:lnTo>
                    <a:lnTo>
                      <a:pt x="24" y="740"/>
                    </a:lnTo>
                    <a:lnTo>
                      <a:pt x="23" y="745"/>
                    </a:lnTo>
                    <a:lnTo>
                      <a:pt x="20" y="749"/>
                    </a:lnTo>
                    <a:lnTo>
                      <a:pt x="20" y="754"/>
                    </a:lnTo>
                    <a:lnTo>
                      <a:pt x="21" y="761"/>
                    </a:lnTo>
                    <a:lnTo>
                      <a:pt x="20" y="766"/>
                    </a:lnTo>
                    <a:lnTo>
                      <a:pt x="16" y="774"/>
                    </a:lnTo>
                    <a:lnTo>
                      <a:pt x="16" y="776"/>
                    </a:lnTo>
                    <a:lnTo>
                      <a:pt x="15" y="772"/>
                    </a:lnTo>
                    <a:lnTo>
                      <a:pt x="15" y="776"/>
                    </a:lnTo>
                    <a:lnTo>
                      <a:pt x="15" y="777"/>
                    </a:lnTo>
                    <a:lnTo>
                      <a:pt x="11" y="786"/>
                    </a:lnTo>
                    <a:lnTo>
                      <a:pt x="10" y="791"/>
                    </a:lnTo>
                    <a:lnTo>
                      <a:pt x="5" y="792"/>
                    </a:lnTo>
                    <a:lnTo>
                      <a:pt x="0" y="796"/>
                    </a:lnTo>
                    <a:lnTo>
                      <a:pt x="1" y="800"/>
                    </a:lnTo>
                    <a:lnTo>
                      <a:pt x="5" y="804"/>
                    </a:lnTo>
                    <a:lnTo>
                      <a:pt x="6" y="810"/>
                    </a:lnTo>
                    <a:lnTo>
                      <a:pt x="11" y="810"/>
                    </a:lnTo>
                    <a:lnTo>
                      <a:pt x="16" y="815"/>
                    </a:lnTo>
                    <a:lnTo>
                      <a:pt x="21" y="827"/>
                    </a:lnTo>
                    <a:lnTo>
                      <a:pt x="38" y="848"/>
                    </a:lnTo>
                    <a:lnTo>
                      <a:pt x="49" y="861"/>
                    </a:lnTo>
                    <a:lnTo>
                      <a:pt x="49" y="863"/>
                    </a:lnTo>
                    <a:lnTo>
                      <a:pt x="56" y="871"/>
                    </a:lnTo>
                    <a:lnTo>
                      <a:pt x="59" y="881"/>
                    </a:lnTo>
                    <a:lnTo>
                      <a:pt x="74" y="901"/>
                    </a:lnTo>
                    <a:lnTo>
                      <a:pt x="77" y="897"/>
                    </a:lnTo>
                    <a:lnTo>
                      <a:pt x="79" y="894"/>
                    </a:lnTo>
                    <a:lnTo>
                      <a:pt x="70" y="891"/>
                    </a:lnTo>
                    <a:lnTo>
                      <a:pt x="69" y="883"/>
                    </a:lnTo>
                    <a:lnTo>
                      <a:pt x="70" y="883"/>
                    </a:lnTo>
                    <a:lnTo>
                      <a:pt x="69" y="884"/>
                    </a:lnTo>
                    <a:lnTo>
                      <a:pt x="72" y="888"/>
                    </a:lnTo>
                    <a:lnTo>
                      <a:pt x="70" y="891"/>
                    </a:lnTo>
                    <a:lnTo>
                      <a:pt x="74" y="893"/>
                    </a:lnTo>
                    <a:lnTo>
                      <a:pt x="75" y="889"/>
                    </a:lnTo>
                    <a:lnTo>
                      <a:pt x="80" y="891"/>
                    </a:lnTo>
                    <a:lnTo>
                      <a:pt x="79" y="888"/>
                    </a:lnTo>
                    <a:lnTo>
                      <a:pt x="84" y="889"/>
                    </a:lnTo>
                    <a:lnTo>
                      <a:pt x="80" y="891"/>
                    </a:lnTo>
                    <a:lnTo>
                      <a:pt x="82" y="902"/>
                    </a:lnTo>
                    <a:lnTo>
                      <a:pt x="84" y="901"/>
                    </a:lnTo>
                    <a:lnTo>
                      <a:pt x="87" y="901"/>
                    </a:lnTo>
                    <a:lnTo>
                      <a:pt x="90" y="896"/>
                    </a:lnTo>
                    <a:lnTo>
                      <a:pt x="93" y="896"/>
                    </a:lnTo>
                    <a:lnTo>
                      <a:pt x="93" y="893"/>
                    </a:lnTo>
                    <a:lnTo>
                      <a:pt x="95" y="894"/>
                    </a:lnTo>
                    <a:lnTo>
                      <a:pt x="93" y="893"/>
                    </a:lnTo>
                    <a:lnTo>
                      <a:pt x="93" y="896"/>
                    </a:lnTo>
                    <a:lnTo>
                      <a:pt x="90" y="896"/>
                    </a:lnTo>
                    <a:lnTo>
                      <a:pt x="87" y="904"/>
                    </a:lnTo>
                    <a:lnTo>
                      <a:pt x="87" y="902"/>
                    </a:lnTo>
                    <a:lnTo>
                      <a:pt x="84" y="906"/>
                    </a:lnTo>
                    <a:lnTo>
                      <a:pt x="84" y="907"/>
                    </a:lnTo>
                    <a:lnTo>
                      <a:pt x="84" y="906"/>
                    </a:lnTo>
                    <a:lnTo>
                      <a:pt x="84" y="904"/>
                    </a:lnTo>
                    <a:lnTo>
                      <a:pt x="80" y="902"/>
                    </a:lnTo>
                    <a:lnTo>
                      <a:pt x="80" y="896"/>
                    </a:lnTo>
                    <a:lnTo>
                      <a:pt x="75" y="902"/>
                    </a:lnTo>
                    <a:lnTo>
                      <a:pt x="75" y="909"/>
                    </a:lnTo>
                    <a:lnTo>
                      <a:pt x="79" y="924"/>
                    </a:lnTo>
                    <a:lnTo>
                      <a:pt x="75" y="930"/>
                    </a:lnTo>
                    <a:lnTo>
                      <a:pt x="79" y="937"/>
                    </a:lnTo>
                    <a:lnTo>
                      <a:pt x="87" y="953"/>
                    </a:lnTo>
                    <a:lnTo>
                      <a:pt x="97" y="967"/>
                    </a:lnTo>
                    <a:lnTo>
                      <a:pt x="108" y="988"/>
                    </a:lnTo>
                    <a:lnTo>
                      <a:pt x="115" y="993"/>
                    </a:lnTo>
                    <a:lnTo>
                      <a:pt x="123" y="991"/>
                    </a:lnTo>
                    <a:lnTo>
                      <a:pt x="123" y="988"/>
                    </a:lnTo>
                    <a:lnTo>
                      <a:pt x="126" y="990"/>
                    </a:lnTo>
                    <a:lnTo>
                      <a:pt x="130" y="991"/>
                    </a:lnTo>
                    <a:lnTo>
                      <a:pt x="135" y="991"/>
                    </a:lnTo>
                    <a:lnTo>
                      <a:pt x="141" y="985"/>
                    </a:lnTo>
                    <a:lnTo>
                      <a:pt x="136" y="980"/>
                    </a:lnTo>
                    <a:lnTo>
                      <a:pt x="136" y="976"/>
                    </a:lnTo>
                    <a:lnTo>
                      <a:pt x="135" y="978"/>
                    </a:lnTo>
                    <a:lnTo>
                      <a:pt x="135" y="980"/>
                    </a:lnTo>
                    <a:lnTo>
                      <a:pt x="136" y="980"/>
                    </a:lnTo>
                    <a:lnTo>
                      <a:pt x="135" y="980"/>
                    </a:lnTo>
                    <a:lnTo>
                      <a:pt x="135" y="978"/>
                    </a:lnTo>
                    <a:lnTo>
                      <a:pt x="133" y="978"/>
                    </a:lnTo>
                    <a:lnTo>
                      <a:pt x="135" y="978"/>
                    </a:lnTo>
                    <a:lnTo>
                      <a:pt x="133" y="978"/>
                    </a:lnTo>
                    <a:lnTo>
                      <a:pt x="131" y="978"/>
                    </a:lnTo>
                    <a:lnTo>
                      <a:pt x="133" y="978"/>
                    </a:lnTo>
                    <a:lnTo>
                      <a:pt x="135" y="978"/>
                    </a:lnTo>
                    <a:lnTo>
                      <a:pt x="135" y="975"/>
                    </a:lnTo>
                    <a:lnTo>
                      <a:pt x="135" y="973"/>
                    </a:lnTo>
                    <a:lnTo>
                      <a:pt x="135" y="975"/>
                    </a:lnTo>
                    <a:lnTo>
                      <a:pt x="135" y="976"/>
                    </a:lnTo>
                    <a:lnTo>
                      <a:pt x="135" y="975"/>
                    </a:lnTo>
                    <a:lnTo>
                      <a:pt x="136" y="970"/>
                    </a:lnTo>
                    <a:lnTo>
                      <a:pt x="136" y="975"/>
                    </a:lnTo>
                    <a:lnTo>
                      <a:pt x="138" y="970"/>
                    </a:lnTo>
                    <a:lnTo>
                      <a:pt x="138" y="971"/>
                    </a:lnTo>
                    <a:lnTo>
                      <a:pt x="138" y="970"/>
                    </a:lnTo>
                    <a:lnTo>
                      <a:pt x="138" y="968"/>
                    </a:lnTo>
                    <a:lnTo>
                      <a:pt x="139" y="970"/>
                    </a:lnTo>
                    <a:lnTo>
                      <a:pt x="138" y="970"/>
                    </a:lnTo>
                    <a:lnTo>
                      <a:pt x="139" y="971"/>
                    </a:lnTo>
                    <a:lnTo>
                      <a:pt x="141" y="970"/>
                    </a:lnTo>
                    <a:lnTo>
                      <a:pt x="138" y="967"/>
                    </a:lnTo>
                    <a:lnTo>
                      <a:pt x="141" y="970"/>
                    </a:lnTo>
                    <a:lnTo>
                      <a:pt x="141" y="971"/>
                    </a:lnTo>
                    <a:lnTo>
                      <a:pt x="143" y="968"/>
                    </a:lnTo>
                    <a:lnTo>
                      <a:pt x="139" y="965"/>
                    </a:lnTo>
                    <a:lnTo>
                      <a:pt x="141" y="967"/>
                    </a:lnTo>
                    <a:lnTo>
                      <a:pt x="139" y="965"/>
                    </a:lnTo>
                    <a:lnTo>
                      <a:pt x="141" y="967"/>
                    </a:lnTo>
                    <a:lnTo>
                      <a:pt x="141" y="965"/>
                    </a:lnTo>
                    <a:lnTo>
                      <a:pt x="143" y="967"/>
                    </a:lnTo>
                    <a:lnTo>
                      <a:pt x="144" y="962"/>
                    </a:lnTo>
                    <a:lnTo>
                      <a:pt x="144" y="963"/>
                    </a:lnTo>
                    <a:lnTo>
                      <a:pt x="146" y="962"/>
                    </a:lnTo>
                    <a:lnTo>
                      <a:pt x="146" y="958"/>
                    </a:lnTo>
                    <a:lnTo>
                      <a:pt x="144" y="957"/>
                    </a:lnTo>
                    <a:lnTo>
                      <a:pt x="146" y="957"/>
                    </a:lnTo>
                    <a:lnTo>
                      <a:pt x="146" y="953"/>
                    </a:lnTo>
                    <a:lnTo>
                      <a:pt x="143" y="952"/>
                    </a:lnTo>
                    <a:lnTo>
                      <a:pt x="144" y="950"/>
                    </a:lnTo>
                    <a:lnTo>
                      <a:pt x="143" y="950"/>
                    </a:lnTo>
                    <a:lnTo>
                      <a:pt x="143" y="948"/>
                    </a:lnTo>
                    <a:lnTo>
                      <a:pt x="143" y="947"/>
                    </a:lnTo>
                    <a:lnTo>
                      <a:pt x="143" y="950"/>
                    </a:lnTo>
                    <a:lnTo>
                      <a:pt x="144" y="947"/>
                    </a:lnTo>
                    <a:lnTo>
                      <a:pt x="146" y="940"/>
                    </a:lnTo>
                    <a:lnTo>
                      <a:pt x="144" y="939"/>
                    </a:lnTo>
                    <a:lnTo>
                      <a:pt x="146" y="940"/>
                    </a:lnTo>
                    <a:lnTo>
                      <a:pt x="146" y="939"/>
                    </a:lnTo>
                    <a:lnTo>
                      <a:pt x="144" y="950"/>
                    </a:lnTo>
                    <a:lnTo>
                      <a:pt x="146" y="948"/>
                    </a:lnTo>
                    <a:lnTo>
                      <a:pt x="144" y="950"/>
                    </a:lnTo>
                    <a:lnTo>
                      <a:pt x="149" y="952"/>
                    </a:lnTo>
                    <a:lnTo>
                      <a:pt x="151" y="958"/>
                    </a:lnTo>
                    <a:lnTo>
                      <a:pt x="154" y="963"/>
                    </a:lnTo>
                    <a:lnTo>
                      <a:pt x="156" y="968"/>
                    </a:lnTo>
                    <a:lnTo>
                      <a:pt x="158" y="967"/>
                    </a:lnTo>
                    <a:lnTo>
                      <a:pt x="154" y="975"/>
                    </a:lnTo>
                    <a:lnTo>
                      <a:pt x="153" y="975"/>
                    </a:lnTo>
                    <a:lnTo>
                      <a:pt x="154" y="980"/>
                    </a:lnTo>
                    <a:lnTo>
                      <a:pt x="153" y="976"/>
                    </a:lnTo>
                    <a:lnTo>
                      <a:pt x="151" y="981"/>
                    </a:lnTo>
                    <a:lnTo>
                      <a:pt x="153" y="980"/>
                    </a:lnTo>
                    <a:lnTo>
                      <a:pt x="151" y="981"/>
                    </a:lnTo>
                    <a:lnTo>
                      <a:pt x="149" y="981"/>
                    </a:lnTo>
                    <a:lnTo>
                      <a:pt x="148" y="993"/>
                    </a:lnTo>
                    <a:lnTo>
                      <a:pt x="149" y="994"/>
                    </a:lnTo>
                    <a:lnTo>
                      <a:pt x="146" y="993"/>
                    </a:lnTo>
                    <a:lnTo>
                      <a:pt x="149" y="994"/>
                    </a:lnTo>
                    <a:lnTo>
                      <a:pt x="148" y="999"/>
                    </a:lnTo>
                    <a:lnTo>
                      <a:pt x="146" y="1003"/>
                    </a:lnTo>
                    <a:lnTo>
                      <a:pt x="138" y="1003"/>
                    </a:lnTo>
                    <a:lnTo>
                      <a:pt x="135" y="1004"/>
                    </a:lnTo>
                    <a:lnTo>
                      <a:pt x="136" y="1013"/>
                    </a:lnTo>
                    <a:lnTo>
                      <a:pt x="139" y="1011"/>
                    </a:lnTo>
                    <a:lnTo>
                      <a:pt x="141" y="1013"/>
                    </a:lnTo>
                    <a:lnTo>
                      <a:pt x="139" y="1017"/>
                    </a:lnTo>
                    <a:lnTo>
                      <a:pt x="139" y="1029"/>
                    </a:lnTo>
                    <a:lnTo>
                      <a:pt x="139" y="1039"/>
                    </a:lnTo>
                    <a:lnTo>
                      <a:pt x="141" y="1044"/>
                    </a:lnTo>
                    <a:lnTo>
                      <a:pt x="146" y="1049"/>
                    </a:lnTo>
                    <a:lnTo>
                      <a:pt x="148" y="1052"/>
                    </a:lnTo>
                    <a:lnTo>
                      <a:pt x="148" y="1049"/>
                    </a:lnTo>
                    <a:lnTo>
                      <a:pt x="154" y="1044"/>
                    </a:lnTo>
                    <a:lnTo>
                      <a:pt x="158" y="1044"/>
                    </a:lnTo>
                    <a:lnTo>
                      <a:pt x="159" y="1049"/>
                    </a:lnTo>
                    <a:lnTo>
                      <a:pt x="159" y="1052"/>
                    </a:lnTo>
                    <a:lnTo>
                      <a:pt x="164" y="1055"/>
                    </a:lnTo>
                    <a:lnTo>
                      <a:pt x="162" y="1062"/>
                    </a:lnTo>
                    <a:lnTo>
                      <a:pt x="164" y="1062"/>
                    </a:lnTo>
                    <a:lnTo>
                      <a:pt x="164" y="1059"/>
                    </a:lnTo>
                    <a:lnTo>
                      <a:pt x="172" y="1067"/>
                    </a:lnTo>
                    <a:lnTo>
                      <a:pt x="171" y="1064"/>
                    </a:lnTo>
                    <a:lnTo>
                      <a:pt x="171" y="1065"/>
                    </a:lnTo>
                    <a:lnTo>
                      <a:pt x="164" y="1057"/>
                    </a:lnTo>
                    <a:lnTo>
                      <a:pt x="167" y="1055"/>
                    </a:lnTo>
                    <a:lnTo>
                      <a:pt x="172" y="1050"/>
                    </a:lnTo>
                    <a:lnTo>
                      <a:pt x="187" y="1036"/>
                    </a:lnTo>
                    <a:lnTo>
                      <a:pt x="189" y="1031"/>
                    </a:lnTo>
                    <a:lnTo>
                      <a:pt x="189" y="1029"/>
                    </a:lnTo>
                    <a:lnTo>
                      <a:pt x="192" y="1027"/>
                    </a:lnTo>
                    <a:lnTo>
                      <a:pt x="192" y="1026"/>
                    </a:lnTo>
                    <a:lnTo>
                      <a:pt x="194" y="1024"/>
                    </a:lnTo>
                    <a:lnTo>
                      <a:pt x="194" y="1022"/>
                    </a:lnTo>
                    <a:lnTo>
                      <a:pt x="197" y="1013"/>
                    </a:lnTo>
                    <a:lnTo>
                      <a:pt x="204" y="1009"/>
                    </a:lnTo>
                    <a:lnTo>
                      <a:pt x="204" y="1003"/>
                    </a:lnTo>
                    <a:lnTo>
                      <a:pt x="202" y="999"/>
                    </a:lnTo>
                    <a:lnTo>
                      <a:pt x="202" y="994"/>
                    </a:lnTo>
                    <a:lnTo>
                      <a:pt x="204" y="998"/>
                    </a:lnTo>
                    <a:lnTo>
                      <a:pt x="205" y="994"/>
                    </a:lnTo>
                    <a:lnTo>
                      <a:pt x="204" y="993"/>
                    </a:lnTo>
                    <a:lnTo>
                      <a:pt x="205" y="993"/>
                    </a:lnTo>
                    <a:lnTo>
                      <a:pt x="205" y="990"/>
                    </a:lnTo>
                    <a:lnTo>
                      <a:pt x="205" y="986"/>
                    </a:lnTo>
                    <a:lnTo>
                      <a:pt x="208" y="986"/>
                    </a:lnTo>
                    <a:lnTo>
                      <a:pt x="210" y="980"/>
                    </a:lnTo>
                    <a:lnTo>
                      <a:pt x="212" y="980"/>
                    </a:lnTo>
                    <a:lnTo>
                      <a:pt x="210" y="983"/>
                    </a:lnTo>
                    <a:lnTo>
                      <a:pt x="213" y="980"/>
                    </a:lnTo>
                    <a:lnTo>
                      <a:pt x="212" y="976"/>
                    </a:lnTo>
                    <a:lnTo>
                      <a:pt x="205" y="973"/>
                    </a:lnTo>
                    <a:lnTo>
                      <a:pt x="207" y="967"/>
                    </a:lnTo>
                    <a:lnTo>
                      <a:pt x="207" y="965"/>
                    </a:lnTo>
                    <a:lnTo>
                      <a:pt x="208" y="962"/>
                    </a:lnTo>
                    <a:lnTo>
                      <a:pt x="212" y="962"/>
                    </a:lnTo>
                    <a:lnTo>
                      <a:pt x="212" y="960"/>
                    </a:lnTo>
                    <a:lnTo>
                      <a:pt x="213" y="958"/>
                    </a:lnTo>
                    <a:lnTo>
                      <a:pt x="215" y="958"/>
                    </a:lnTo>
                    <a:lnTo>
                      <a:pt x="213" y="957"/>
                    </a:lnTo>
                    <a:lnTo>
                      <a:pt x="213" y="955"/>
                    </a:lnTo>
                    <a:lnTo>
                      <a:pt x="215" y="957"/>
                    </a:lnTo>
                    <a:lnTo>
                      <a:pt x="215" y="958"/>
                    </a:lnTo>
                    <a:lnTo>
                      <a:pt x="213" y="958"/>
                    </a:lnTo>
                    <a:lnTo>
                      <a:pt x="215" y="962"/>
                    </a:lnTo>
                    <a:lnTo>
                      <a:pt x="213" y="960"/>
                    </a:lnTo>
                    <a:lnTo>
                      <a:pt x="212" y="962"/>
                    </a:lnTo>
                    <a:lnTo>
                      <a:pt x="207" y="967"/>
                    </a:lnTo>
                    <a:lnTo>
                      <a:pt x="208" y="970"/>
                    </a:lnTo>
                    <a:lnTo>
                      <a:pt x="213" y="968"/>
                    </a:lnTo>
                    <a:lnTo>
                      <a:pt x="215" y="973"/>
                    </a:lnTo>
                    <a:lnTo>
                      <a:pt x="215" y="971"/>
                    </a:lnTo>
                    <a:lnTo>
                      <a:pt x="215" y="975"/>
                    </a:lnTo>
                    <a:lnTo>
                      <a:pt x="217" y="975"/>
                    </a:lnTo>
                    <a:lnTo>
                      <a:pt x="217" y="980"/>
                    </a:lnTo>
                    <a:lnTo>
                      <a:pt x="220" y="983"/>
                    </a:lnTo>
                    <a:lnTo>
                      <a:pt x="217" y="986"/>
                    </a:lnTo>
                    <a:lnTo>
                      <a:pt x="218" y="985"/>
                    </a:lnTo>
                    <a:lnTo>
                      <a:pt x="218" y="986"/>
                    </a:lnTo>
                    <a:lnTo>
                      <a:pt x="217" y="986"/>
                    </a:lnTo>
                    <a:lnTo>
                      <a:pt x="217" y="985"/>
                    </a:lnTo>
                    <a:lnTo>
                      <a:pt x="215" y="988"/>
                    </a:lnTo>
                    <a:lnTo>
                      <a:pt x="212" y="988"/>
                    </a:lnTo>
                    <a:lnTo>
                      <a:pt x="217" y="991"/>
                    </a:lnTo>
                    <a:lnTo>
                      <a:pt x="210" y="988"/>
                    </a:lnTo>
                    <a:lnTo>
                      <a:pt x="213" y="990"/>
                    </a:lnTo>
                    <a:lnTo>
                      <a:pt x="215" y="993"/>
                    </a:lnTo>
                    <a:lnTo>
                      <a:pt x="215" y="991"/>
                    </a:lnTo>
                    <a:lnTo>
                      <a:pt x="215" y="993"/>
                    </a:lnTo>
                    <a:lnTo>
                      <a:pt x="217" y="994"/>
                    </a:lnTo>
                    <a:lnTo>
                      <a:pt x="217" y="993"/>
                    </a:lnTo>
                    <a:lnTo>
                      <a:pt x="217" y="994"/>
                    </a:lnTo>
                    <a:lnTo>
                      <a:pt x="220" y="998"/>
                    </a:lnTo>
                    <a:lnTo>
                      <a:pt x="222" y="996"/>
                    </a:lnTo>
                    <a:lnTo>
                      <a:pt x="220" y="998"/>
                    </a:lnTo>
                    <a:lnTo>
                      <a:pt x="222" y="998"/>
                    </a:lnTo>
                    <a:lnTo>
                      <a:pt x="220" y="999"/>
                    </a:lnTo>
                    <a:lnTo>
                      <a:pt x="222" y="999"/>
                    </a:lnTo>
                    <a:lnTo>
                      <a:pt x="222" y="1003"/>
                    </a:lnTo>
                    <a:lnTo>
                      <a:pt x="223" y="1003"/>
                    </a:lnTo>
                    <a:lnTo>
                      <a:pt x="225" y="1003"/>
                    </a:lnTo>
                    <a:lnTo>
                      <a:pt x="225" y="1006"/>
                    </a:lnTo>
                    <a:lnTo>
                      <a:pt x="223" y="1006"/>
                    </a:lnTo>
                    <a:lnTo>
                      <a:pt x="222" y="1011"/>
                    </a:lnTo>
                    <a:lnTo>
                      <a:pt x="223" y="1014"/>
                    </a:lnTo>
                    <a:lnTo>
                      <a:pt x="225" y="1013"/>
                    </a:lnTo>
                    <a:lnTo>
                      <a:pt x="225" y="1014"/>
                    </a:lnTo>
                    <a:lnTo>
                      <a:pt x="227" y="1016"/>
                    </a:lnTo>
                    <a:lnTo>
                      <a:pt x="233" y="1017"/>
                    </a:lnTo>
                    <a:lnTo>
                      <a:pt x="235" y="1017"/>
                    </a:lnTo>
                    <a:lnTo>
                      <a:pt x="236" y="1019"/>
                    </a:lnTo>
                    <a:lnTo>
                      <a:pt x="236" y="1016"/>
                    </a:lnTo>
                    <a:lnTo>
                      <a:pt x="246" y="1013"/>
                    </a:lnTo>
                    <a:lnTo>
                      <a:pt x="243" y="1011"/>
                    </a:lnTo>
                    <a:lnTo>
                      <a:pt x="245" y="1011"/>
                    </a:lnTo>
                    <a:lnTo>
                      <a:pt x="243" y="1008"/>
                    </a:lnTo>
                    <a:lnTo>
                      <a:pt x="245" y="1011"/>
                    </a:lnTo>
                    <a:lnTo>
                      <a:pt x="248" y="1011"/>
                    </a:lnTo>
                    <a:lnTo>
                      <a:pt x="248" y="1016"/>
                    </a:lnTo>
                    <a:lnTo>
                      <a:pt x="248" y="1006"/>
                    </a:lnTo>
                    <a:lnTo>
                      <a:pt x="250" y="1006"/>
                    </a:lnTo>
                    <a:lnTo>
                      <a:pt x="251" y="1003"/>
                    </a:lnTo>
                    <a:lnTo>
                      <a:pt x="256" y="993"/>
                    </a:lnTo>
                    <a:lnTo>
                      <a:pt x="258" y="990"/>
                    </a:lnTo>
                    <a:lnTo>
                      <a:pt x="263" y="986"/>
                    </a:lnTo>
                    <a:lnTo>
                      <a:pt x="264" y="988"/>
                    </a:lnTo>
                    <a:lnTo>
                      <a:pt x="264" y="990"/>
                    </a:lnTo>
                    <a:lnTo>
                      <a:pt x="264" y="988"/>
                    </a:lnTo>
                    <a:lnTo>
                      <a:pt x="264" y="986"/>
                    </a:lnTo>
                    <a:lnTo>
                      <a:pt x="266" y="986"/>
                    </a:lnTo>
                    <a:lnTo>
                      <a:pt x="268" y="985"/>
                    </a:lnTo>
                    <a:lnTo>
                      <a:pt x="269" y="983"/>
                    </a:lnTo>
                    <a:lnTo>
                      <a:pt x="271" y="985"/>
                    </a:lnTo>
                    <a:lnTo>
                      <a:pt x="271" y="983"/>
                    </a:lnTo>
                    <a:lnTo>
                      <a:pt x="271" y="985"/>
                    </a:lnTo>
                    <a:lnTo>
                      <a:pt x="279" y="983"/>
                    </a:lnTo>
                    <a:lnTo>
                      <a:pt x="282" y="975"/>
                    </a:lnTo>
                    <a:lnTo>
                      <a:pt x="281" y="981"/>
                    </a:lnTo>
                    <a:lnTo>
                      <a:pt x="284" y="975"/>
                    </a:lnTo>
                    <a:lnTo>
                      <a:pt x="297" y="970"/>
                    </a:lnTo>
                    <a:lnTo>
                      <a:pt x="294" y="967"/>
                    </a:lnTo>
                    <a:lnTo>
                      <a:pt x="294" y="960"/>
                    </a:lnTo>
                    <a:lnTo>
                      <a:pt x="291" y="960"/>
                    </a:lnTo>
                    <a:lnTo>
                      <a:pt x="289" y="960"/>
                    </a:lnTo>
                    <a:lnTo>
                      <a:pt x="289" y="957"/>
                    </a:lnTo>
                    <a:lnTo>
                      <a:pt x="292" y="955"/>
                    </a:lnTo>
                    <a:lnTo>
                      <a:pt x="292" y="953"/>
                    </a:lnTo>
                    <a:lnTo>
                      <a:pt x="292" y="955"/>
                    </a:lnTo>
                    <a:lnTo>
                      <a:pt x="294" y="957"/>
                    </a:lnTo>
                    <a:lnTo>
                      <a:pt x="294" y="955"/>
                    </a:lnTo>
                    <a:lnTo>
                      <a:pt x="296" y="953"/>
                    </a:lnTo>
                    <a:lnTo>
                      <a:pt x="297" y="955"/>
                    </a:lnTo>
                    <a:lnTo>
                      <a:pt x="296" y="955"/>
                    </a:lnTo>
                    <a:lnTo>
                      <a:pt x="294" y="957"/>
                    </a:lnTo>
                    <a:lnTo>
                      <a:pt x="291" y="957"/>
                    </a:lnTo>
                    <a:lnTo>
                      <a:pt x="291" y="960"/>
                    </a:lnTo>
                    <a:lnTo>
                      <a:pt x="294" y="958"/>
                    </a:lnTo>
                    <a:lnTo>
                      <a:pt x="297" y="967"/>
                    </a:lnTo>
                    <a:lnTo>
                      <a:pt x="299" y="967"/>
                    </a:lnTo>
                    <a:lnTo>
                      <a:pt x="299" y="970"/>
                    </a:lnTo>
                    <a:lnTo>
                      <a:pt x="297" y="970"/>
                    </a:lnTo>
                    <a:lnTo>
                      <a:pt x="292" y="975"/>
                    </a:lnTo>
                    <a:lnTo>
                      <a:pt x="286" y="981"/>
                    </a:lnTo>
                    <a:lnTo>
                      <a:pt x="286" y="983"/>
                    </a:lnTo>
                    <a:lnTo>
                      <a:pt x="284" y="983"/>
                    </a:lnTo>
                    <a:lnTo>
                      <a:pt x="286" y="983"/>
                    </a:lnTo>
                    <a:lnTo>
                      <a:pt x="287" y="983"/>
                    </a:lnTo>
                    <a:lnTo>
                      <a:pt x="286" y="983"/>
                    </a:lnTo>
                    <a:lnTo>
                      <a:pt x="286" y="985"/>
                    </a:lnTo>
                    <a:lnTo>
                      <a:pt x="287" y="983"/>
                    </a:lnTo>
                    <a:lnTo>
                      <a:pt x="287" y="985"/>
                    </a:lnTo>
                    <a:lnTo>
                      <a:pt x="286" y="985"/>
                    </a:lnTo>
                    <a:lnTo>
                      <a:pt x="284" y="983"/>
                    </a:lnTo>
                    <a:lnTo>
                      <a:pt x="286" y="985"/>
                    </a:lnTo>
                    <a:lnTo>
                      <a:pt x="284" y="983"/>
                    </a:lnTo>
                    <a:lnTo>
                      <a:pt x="279" y="986"/>
                    </a:lnTo>
                    <a:lnTo>
                      <a:pt x="276" y="991"/>
                    </a:lnTo>
                    <a:lnTo>
                      <a:pt x="273" y="991"/>
                    </a:lnTo>
                    <a:lnTo>
                      <a:pt x="273" y="996"/>
                    </a:lnTo>
                    <a:lnTo>
                      <a:pt x="274" y="999"/>
                    </a:lnTo>
                    <a:lnTo>
                      <a:pt x="271" y="998"/>
                    </a:lnTo>
                    <a:lnTo>
                      <a:pt x="271" y="999"/>
                    </a:lnTo>
                    <a:lnTo>
                      <a:pt x="282" y="1001"/>
                    </a:lnTo>
                    <a:lnTo>
                      <a:pt x="289" y="998"/>
                    </a:lnTo>
                    <a:lnTo>
                      <a:pt x="289" y="993"/>
                    </a:lnTo>
                    <a:lnTo>
                      <a:pt x="296" y="988"/>
                    </a:lnTo>
                    <a:lnTo>
                      <a:pt x="302" y="993"/>
                    </a:lnTo>
                    <a:lnTo>
                      <a:pt x="305" y="994"/>
                    </a:lnTo>
                    <a:lnTo>
                      <a:pt x="310" y="993"/>
                    </a:lnTo>
                    <a:lnTo>
                      <a:pt x="312" y="993"/>
                    </a:lnTo>
                    <a:lnTo>
                      <a:pt x="317" y="996"/>
                    </a:lnTo>
                    <a:lnTo>
                      <a:pt x="317" y="999"/>
                    </a:lnTo>
                    <a:lnTo>
                      <a:pt x="317" y="1004"/>
                    </a:lnTo>
                    <a:lnTo>
                      <a:pt x="320" y="1006"/>
                    </a:lnTo>
                    <a:lnTo>
                      <a:pt x="330" y="1008"/>
                    </a:lnTo>
                    <a:lnTo>
                      <a:pt x="333" y="1008"/>
                    </a:lnTo>
                    <a:lnTo>
                      <a:pt x="337" y="1009"/>
                    </a:lnTo>
                    <a:lnTo>
                      <a:pt x="338" y="1008"/>
                    </a:lnTo>
                    <a:lnTo>
                      <a:pt x="338" y="1006"/>
                    </a:lnTo>
                    <a:lnTo>
                      <a:pt x="338" y="1004"/>
                    </a:lnTo>
                    <a:lnTo>
                      <a:pt x="340" y="1001"/>
                    </a:lnTo>
                    <a:lnTo>
                      <a:pt x="348" y="994"/>
                    </a:lnTo>
                    <a:lnTo>
                      <a:pt x="351" y="985"/>
                    </a:lnTo>
                    <a:lnTo>
                      <a:pt x="356" y="990"/>
                    </a:lnTo>
                    <a:lnTo>
                      <a:pt x="365" y="990"/>
                    </a:lnTo>
                    <a:lnTo>
                      <a:pt x="368" y="988"/>
                    </a:lnTo>
                    <a:lnTo>
                      <a:pt x="374" y="988"/>
                    </a:lnTo>
                    <a:lnTo>
                      <a:pt x="383" y="986"/>
                    </a:lnTo>
                    <a:lnTo>
                      <a:pt x="392" y="976"/>
                    </a:lnTo>
                    <a:lnTo>
                      <a:pt x="401" y="975"/>
                    </a:lnTo>
                    <a:lnTo>
                      <a:pt x="409" y="967"/>
                    </a:lnTo>
                    <a:lnTo>
                      <a:pt x="414" y="962"/>
                    </a:lnTo>
                    <a:lnTo>
                      <a:pt x="414" y="970"/>
                    </a:lnTo>
                    <a:lnTo>
                      <a:pt x="409" y="976"/>
                    </a:lnTo>
                    <a:lnTo>
                      <a:pt x="407" y="985"/>
                    </a:lnTo>
                    <a:lnTo>
                      <a:pt x="389" y="1004"/>
                    </a:lnTo>
                    <a:lnTo>
                      <a:pt x="389" y="1008"/>
                    </a:lnTo>
                    <a:lnTo>
                      <a:pt x="388" y="1011"/>
                    </a:lnTo>
                    <a:lnTo>
                      <a:pt x="384" y="1011"/>
                    </a:lnTo>
                    <a:lnTo>
                      <a:pt x="383" y="1014"/>
                    </a:lnTo>
                    <a:lnTo>
                      <a:pt x="379" y="1014"/>
                    </a:lnTo>
                    <a:lnTo>
                      <a:pt x="379" y="1021"/>
                    </a:lnTo>
                    <a:lnTo>
                      <a:pt x="378" y="1022"/>
                    </a:lnTo>
                    <a:lnTo>
                      <a:pt x="378" y="1031"/>
                    </a:lnTo>
                    <a:lnTo>
                      <a:pt x="384" y="1036"/>
                    </a:lnTo>
                    <a:lnTo>
                      <a:pt x="384" y="1037"/>
                    </a:lnTo>
                    <a:lnTo>
                      <a:pt x="388" y="1041"/>
                    </a:lnTo>
                    <a:lnTo>
                      <a:pt x="388" y="1044"/>
                    </a:lnTo>
                    <a:lnTo>
                      <a:pt x="391" y="1045"/>
                    </a:lnTo>
                    <a:lnTo>
                      <a:pt x="391" y="1049"/>
                    </a:lnTo>
                    <a:lnTo>
                      <a:pt x="397" y="1049"/>
                    </a:lnTo>
                    <a:lnTo>
                      <a:pt x="397" y="1050"/>
                    </a:lnTo>
                    <a:lnTo>
                      <a:pt x="407" y="1055"/>
                    </a:lnTo>
                    <a:lnTo>
                      <a:pt x="409" y="1059"/>
                    </a:lnTo>
                    <a:lnTo>
                      <a:pt x="411" y="1060"/>
                    </a:lnTo>
                    <a:lnTo>
                      <a:pt x="412" y="1060"/>
                    </a:lnTo>
                    <a:lnTo>
                      <a:pt x="415" y="1050"/>
                    </a:lnTo>
                    <a:lnTo>
                      <a:pt x="419" y="1049"/>
                    </a:lnTo>
                    <a:lnTo>
                      <a:pt x="415" y="1045"/>
                    </a:lnTo>
                    <a:lnTo>
                      <a:pt x="417" y="1044"/>
                    </a:lnTo>
                    <a:lnTo>
                      <a:pt x="415" y="1041"/>
                    </a:lnTo>
                    <a:lnTo>
                      <a:pt x="417" y="1031"/>
                    </a:lnTo>
                    <a:lnTo>
                      <a:pt x="419" y="1029"/>
                    </a:lnTo>
                    <a:lnTo>
                      <a:pt x="422" y="1029"/>
                    </a:lnTo>
                    <a:lnTo>
                      <a:pt x="424" y="1027"/>
                    </a:lnTo>
                    <a:lnTo>
                      <a:pt x="425" y="1027"/>
                    </a:lnTo>
                    <a:lnTo>
                      <a:pt x="425" y="1024"/>
                    </a:lnTo>
                    <a:lnTo>
                      <a:pt x="427" y="1022"/>
                    </a:lnTo>
                    <a:lnTo>
                      <a:pt x="430" y="1017"/>
                    </a:lnTo>
                    <a:lnTo>
                      <a:pt x="437" y="1013"/>
                    </a:lnTo>
                    <a:lnTo>
                      <a:pt x="437" y="1006"/>
                    </a:lnTo>
                    <a:lnTo>
                      <a:pt x="443" y="1003"/>
                    </a:lnTo>
                    <a:lnTo>
                      <a:pt x="445" y="996"/>
                    </a:lnTo>
                    <a:lnTo>
                      <a:pt x="455" y="985"/>
                    </a:lnTo>
                    <a:lnTo>
                      <a:pt x="460" y="988"/>
                    </a:lnTo>
                    <a:lnTo>
                      <a:pt x="458" y="983"/>
                    </a:lnTo>
                    <a:lnTo>
                      <a:pt x="453" y="981"/>
                    </a:lnTo>
                    <a:lnTo>
                      <a:pt x="461" y="975"/>
                    </a:lnTo>
                    <a:lnTo>
                      <a:pt x="463" y="970"/>
                    </a:lnTo>
                    <a:lnTo>
                      <a:pt x="471" y="968"/>
                    </a:lnTo>
                    <a:lnTo>
                      <a:pt x="475" y="962"/>
                    </a:lnTo>
                    <a:lnTo>
                      <a:pt x="476" y="963"/>
                    </a:lnTo>
                    <a:lnTo>
                      <a:pt x="483" y="958"/>
                    </a:lnTo>
                    <a:lnTo>
                      <a:pt x="488" y="957"/>
                    </a:lnTo>
                    <a:lnTo>
                      <a:pt x="498" y="955"/>
                    </a:lnTo>
                    <a:lnTo>
                      <a:pt x="506" y="958"/>
                    </a:lnTo>
                    <a:lnTo>
                      <a:pt x="516" y="968"/>
                    </a:lnTo>
                    <a:lnTo>
                      <a:pt x="522" y="965"/>
                    </a:lnTo>
                    <a:lnTo>
                      <a:pt x="522" y="967"/>
                    </a:lnTo>
                    <a:lnTo>
                      <a:pt x="526" y="965"/>
                    </a:lnTo>
                    <a:lnTo>
                      <a:pt x="526" y="971"/>
                    </a:lnTo>
                    <a:lnTo>
                      <a:pt x="530" y="971"/>
                    </a:lnTo>
                    <a:lnTo>
                      <a:pt x="535" y="967"/>
                    </a:lnTo>
                    <a:lnTo>
                      <a:pt x="540" y="967"/>
                    </a:lnTo>
                    <a:lnTo>
                      <a:pt x="545" y="973"/>
                    </a:lnTo>
                    <a:lnTo>
                      <a:pt x="553" y="980"/>
                    </a:lnTo>
                    <a:lnTo>
                      <a:pt x="555" y="988"/>
                    </a:lnTo>
                    <a:lnTo>
                      <a:pt x="557" y="990"/>
                    </a:lnTo>
                    <a:lnTo>
                      <a:pt x="560" y="998"/>
                    </a:lnTo>
                    <a:lnTo>
                      <a:pt x="563" y="998"/>
                    </a:lnTo>
                    <a:lnTo>
                      <a:pt x="563" y="1001"/>
                    </a:lnTo>
                    <a:lnTo>
                      <a:pt x="568" y="999"/>
                    </a:lnTo>
                    <a:lnTo>
                      <a:pt x="570" y="1003"/>
                    </a:lnTo>
                    <a:lnTo>
                      <a:pt x="573" y="1003"/>
                    </a:lnTo>
                    <a:lnTo>
                      <a:pt x="583" y="993"/>
                    </a:lnTo>
                    <a:lnTo>
                      <a:pt x="596" y="986"/>
                    </a:lnTo>
                    <a:lnTo>
                      <a:pt x="603" y="986"/>
                    </a:lnTo>
                    <a:lnTo>
                      <a:pt x="613" y="980"/>
                    </a:lnTo>
                    <a:lnTo>
                      <a:pt x="616" y="980"/>
                    </a:lnTo>
                    <a:lnTo>
                      <a:pt x="618" y="973"/>
                    </a:lnTo>
                    <a:lnTo>
                      <a:pt x="636" y="967"/>
                    </a:lnTo>
                    <a:lnTo>
                      <a:pt x="641" y="962"/>
                    </a:lnTo>
                    <a:lnTo>
                      <a:pt x="637" y="958"/>
                    </a:lnTo>
                    <a:lnTo>
                      <a:pt x="662" y="963"/>
                    </a:lnTo>
                    <a:lnTo>
                      <a:pt x="667" y="957"/>
                    </a:lnTo>
                    <a:lnTo>
                      <a:pt x="668" y="953"/>
                    </a:lnTo>
                    <a:lnTo>
                      <a:pt x="675" y="952"/>
                    </a:lnTo>
                    <a:lnTo>
                      <a:pt x="677" y="953"/>
                    </a:lnTo>
                    <a:lnTo>
                      <a:pt x="678" y="950"/>
                    </a:lnTo>
                    <a:lnTo>
                      <a:pt x="680" y="950"/>
                    </a:lnTo>
                    <a:lnTo>
                      <a:pt x="682" y="952"/>
                    </a:lnTo>
                    <a:lnTo>
                      <a:pt x="685" y="950"/>
                    </a:lnTo>
                    <a:lnTo>
                      <a:pt x="687" y="948"/>
                    </a:lnTo>
                    <a:lnTo>
                      <a:pt x="687" y="950"/>
                    </a:lnTo>
                    <a:lnTo>
                      <a:pt x="690" y="957"/>
                    </a:lnTo>
                    <a:lnTo>
                      <a:pt x="691" y="958"/>
                    </a:lnTo>
                    <a:lnTo>
                      <a:pt x="690" y="955"/>
                    </a:lnTo>
                    <a:lnTo>
                      <a:pt x="691" y="955"/>
                    </a:lnTo>
                    <a:lnTo>
                      <a:pt x="693" y="958"/>
                    </a:lnTo>
                    <a:lnTo>
                      <a:pt x="698" y="957"/>
                    </a:lnTo>
                    <a:lnTo>
                      <a:pt x="703" y="962"/>
                    </a:lnTo>
                    <a:lnTo>
                      <a:pt x="700" y="963"/>
                    </a:lnTo>
                    <a:lnTo>
                      <a:pt x="703" y="968"/>
                    </a:lnTo>
                    <a:lnTo>
                      <a:pt x="706" y="968"/>
                    </a:lnTo>
                    <a:lnTo>
                      <a:pt x="708" y="975"/>
                    </a:lnTo>
                    <a:lnTo>
                      <a:pt x="706" y="983"/>
                    </a:lnTo>
                    <a:lnTo>
                      <a:pt x="705" y="988"/>
                    </a:lnTo>
                    <a:lnTo>
                      <a:pt x="701" y="991"/>
                    </a:lnTo>
                    <a:lnTo>
                      <a:pt x="703" y="993"/>
                    </a:lnTo>
                    <a:lnTo>
                      <a:pt x="705" y="993"/>
                    </a:lnTo>
                    <a:lnTo>
                      <a:pt x="706" y="993"/>
                    </a:lnTo>
                    <a:lnTo>
                      <a:pt x="708" y="994"/>
                    </a:lnTo>
                    <a:lnTo>
                      <a:pt x="714" y="991"/>
                    </a:lnTo>
                    <a:lnTo>
                      <a:pt x="718" y="991"/>
                    </a:lnTo>
                    <a:lnTo>
                      <a:pt x="719" y="988"/>
                    </a:lnTo>
                    <a:lnTo>
                      <a:pt x="716" y="988"/>
                    </a:lnTo>
                    <a:lnTo>
                      <a:pt x="716" y="986"/>
                    </a:lnTo>
                    <a:lnTo>
                      <a:pt x="723" y="983"/>
                    </a:lnTo>
                    <a:lnTo>
                      <a:pt x="728" y="986"/>
                    </a:lnTo>
                    <a:lnTo>
                      <a:pt x="729" y="991"/>
                    </a:lnTo>
                    <a:lnTo>
                      <a:pt x="736" y="990"/>
                    </a:lnTo>
                    <a:lnTo>
                      <a:pt x="741" y="990"/>
                    </a:lnTo>
                    <a:lnTo>
                      <a:pt x="751" y="983"/>
                    </a:lnTo>
                    <a:lnTo>
                      <a:pt x="752" y="985"/>
                    </a:lnTo>
                    <a:lnTo>
                      <a:pt x="754" y="975"/>
                    </a:lnTo>
                    <a:lnTo>
                      <a:pt x="756" y="973"/>
                    </a:lnTo>
                    <a:lnTo>
                      <a:pt x="760" y="983"/>
                    </a:lnTo>
                    <a:lnTo>
                      <a:pt x="770" y="976"/>
                    </a:lnTo>
                    <a:lnTo>
                      <a:pt x="770" y="978"/>
                    </a:lnTo>
                    <a:lnTo>
                      <a:pt x="774" y="986"/>
                    </a:lnTo>
                    <a:lnTo>
                      <a:pt x="772" y="991"/>
                    </a:lnTo>
                    <a:lnTo>
                      <a:pt x="775" y="994"/>
                    </a:lnTo>
                    <a:lnTo>
                      <a:pt x="787" y="998"/>
                    </a:lnTo>
                    <a:lnTo>
                      <a:pt x="790" y="998"/>
                    </a:lnTo>
                    <a:lnTo>
                      <a:pt x="790" y="1001"/>
                    </a:lnTo>
                    <a:lnTo>
                      <a:pt x="792" y="1003"/>
                    </a:lnTo>
                    <a:lnTo>
                      <a:pt x="793" y="1004"/>
                    </a:lnTo>
                    <a:lnTo>
                      <a:pt x="800" y="1006"/>
                    </a:lnTo>
                    <a:lnTo>
                      <a:pt x="802" y="1009"/>
                    </a:lnTo>
                    <a:lnTo>
                      <a:pt x="803" y="1009"/>
                    </a:lnTo>
                    <a:lnTo>
                      <a:pt x="805" y="1011"/>
                    </a:lnTo>
                    <a:lnTo>
                      <a:pt x="803" y="1011"/>
                    </a:lnTo>
                    <a:lnTo>
                      <a:pt x="805" y="1013"/>
                    </a:lnTo>
                    <a:lnTo>
                      <a:pt x="803" y="1014"/>
                    </a:lnTo>
                    <a:lnTo>
                      <a:pt x="808" y="1014"/>
                    </a:lnTo>
                    <a:lnTo>
                      <a:pt x="806" y="1013"/>
                    </a:lnTo>
                    <a:lnTo>
                      <a:pt x="810" y="1011"/>
                    </a:lnTo>
                    <a:lnTo>
                      <a:pt x="811" y="1013"/>
                    </a:lnTo>
                    <a:lnTo>
                      <a:pt x="813" y="1011"/>
                    </a:lnTo>
                    <a:lnTo>
                      <a:pt x="813" y="1014"/>
                    </a:lnTo>
                    <a:lnTo>
                      <a:pt x="818" y="1013"/>
                    </a:lnTo>
                    <a:lnTo>
                      <a:pt x="829" y="1019"/>
                    </a:lnTo>
                    <a:lnTo>
                      <a:pt x="831" y="1016"/>
                    </a:lnTo>
                    <a:lnTo>
                      <a:pt x="834" y="1016"/>
                    </a:lnTo>
                    <a:lnTo>
                      <a:pt x="836" y="1014"/>
                    </a:lnTo>
                    <a:lnTo>
                      <a:pt x="836" y="1006"/>
                    </a:lnTo>
                    <a:lnTo>
                      <a:pt x="831" y="1003"/>
                    </a:lnTo>
                    <a:lnTo>
                      <a:pt x="833" y="998"/>
                    </a:lnTo>
                    <a:lnTo>
                      <a:pt x="834" y="993"/>
                    </a:lnTo>
                    <a:lnTo>
                      <a:pt x="839" y="993"/>
                    </a:lnTo>
                    <a:lnTo>
                      <a:pt x="839" y="1001"/>
                    </a:lnTo>
                    <a:lnTo>
                      <a:pt x="843" y="1001"/>
                    </a:lnTo>
                    <a:lnTo>
                      <a:pt x="846" y="1006"/>
                    </a:lnTo>
                    <a:lnTo>
                      <a:pt x="846" y="1013"/>
                    </a:lnTo>
                    <a:lnTo>
                      <a:pt x="849" y="1019"/>
                    </a:lnTo>
                    <a:lnTo>
                      <a:pt x="849" y="1024"/>
                    </a:lnTo>
                    <a:lnTo>
                      <a:pt x="856" y="1021"/>
                    </a:lnTo>
                    <a:lnTo>
                      <a:pt x="859" y="1022"/>
                    </a:lnTo>
                    <a:lnTo>
                      <a:pt x="862" y="1019"/>
                    </a:lnTo>
                    <a:lnTo>
                      <a:pt x="869" y="1019"/>
                    </a:lnTo>
                    <a:lnTo>
                      <a:pt x="872" y="1017"/>
                    </a:lnTo>
                    <a:lnTo>
                      <a:pt x="879" y="1019"/>
                    </a:lnTo>
                    <a:lnTo>
                      <a:pt x="880" y="1016"/>
                    </a:lnTo>
                    <a:lnTo>
                      <a:pt x="877" y="1013"/>
                    </a:lnTo>
                    <a:lnTo>
                      <a:pt x="882" y="1008"/>
                    </a:lnTo>
                    <a:lnTo>
                      <a:pt x="879" y="1003"/>
                    </a:lnTo>
                    <a:lnTo>
                      <a:pt x="882" y="998"/>
                    </a:lnTo>
                    <a:lnTo>
                      <a:pt x="879" y="993"/>
                    </a:lnTo>
                    <a:lnTo>
                      <a:pt x="867" y="985"/>
                    </a:lnTo>
                    <a:lnTo>
                      <a:pt x="861" y="986"/>
                    </a:lnTo>
                    <a:lnTo>
                      <a:pt x="861" y="981"/>
                    </a:lnTo>
                    <a:lnTo>
                      <a:pt x="856" y="978"/>
                    </a:lnTo>
                    <a:lnTo>
                      <a:pt x="856" y="976"/>
                    </a:lnTo>
                    <a:lnTo>
                      <a:pt x="859" y="973"/>
                    </a:lnTo>
                    <a:lnTo>
                      <a:pt x="857" y="970"/>
                    </a:lnTo>
                    <a:lnTo>
                      <a:pt x="857" y="962"/>
                    </a:lnTo>
                    <a:lnTo>
                      <a:pt x="854" y="965"/>
                    </a:lnTo>
                    <a:lnTo>
                      <a:pt x="851" y="962"/>
                    </a:lnTo>
                    <a:lnTo>
                      <a:pt x="851" y="957"/>
                    </a:lnTo>
                    <a:lnTo>
                      <a:pt x="854" y="955"/>
                    </a:lnTo>
                    <a:lnTo>
                      <a:pt x="849" y="934"/>
                    </a:lnTo>
                    <a:lnTo>
                      <a:pt x="843" y="924"/>
                    </a:lnTo>
                    <a:lnTo>
                      <a:pt x="839" y="919"/>
                    </a:lnTo>
                    <a:lnTo>
                      <a:pt x="839" y="907"/>
                    </a:lnTo>
                    <a:lnTo>
                      <a:pt x="836" y="904"/>
                    </a:lnTo>
                    <a:lnTo>
                      <a:pt x="833" y="899"/>
                    </a:lnTo>
                    <a:lnTo>
                      <a:pt x="833" y="894"/>
                    </a:lnTo>
                    <a:lnTo>
                      <a:pt x="838" y="894"/>
                    </a:lnTo>
                    <a:lnTo>
                      <a:pt x="841" y="884"/>
                    </a:lnTo>
                    <a:lnTo>
                      <a:pt x="843" y="879"/>
                    </a:lnTo>
                    <a:lnTo>
                      <a:pt x="848" y="879"/>
                    </a:lnTo>
                    <a:lnTo>
                      <a:pt x="852" y="881"/>
                    </a:lnTo>
                    <a:lnTo>
                      <a:pt x="862" y="879"/>
                    </a:lnTo>
                    <a:lnTo>
                      <a:pt x="866" y="876"/>
                    </a:lnTo>
                    <a:lnTo>
                      <a:pt x="869" y="883"/>
                    </a:lnTo>
                    <a:lnTo>
                      <a:pt x="871" y="896"/>
                    </a:lnTo>
                    <a:lnTo>
                      <a:pt x="875" y="896"/>
                    </a:lnTo>
                    <a:lnTo>
                      <a:pt x="880" y="899"/>
                    </a:lnTo>
                    <a:lnTo>
                      <a:pt x="884" y="899"/>
                    </a:lnTo>
                    <a:lnTo>
                      <a:pt x="885" y="902"/>
                    </a:lnTo>
                    <a:lnTo>
                      <a:pt x="884" y="907"/>
                    </a:lnTo>
                    <a:lnTo>
                      <a:pt x="885" y="909"/>
                    </a:lnTo>
                    <a:lnTo>
                      <a:pt x="892" y="909"/>
                    </a:lnTo>
                    <a:lnTo>
                      <a:pt x="898" y="889"/>
                    </a:lnTo>
                    <a:lnTo>
                      <a:pt x="903" y="888"/>
                    </a:lnTo>
                    <a:lnTo>
                      <a:pt x="903" y="881"/>
                    </a:lnTo>
                    <a:lnTo>
                      <a:pt x="898" y="873"/>
                    </a:lnTo>
                    <a:lnTo>
                      <a:pt x="902" y="868"/>
                    </a:lnTo>
                    <a:lnTo>
                      <a:pt x="898" y="863"/>
                    </a:lnTo>
                    <a:lnTo>
                      <a:pt x="902" y="863"/>
                    </a:lnTo>
                    <a:lnTo>
                      <a:pt x="905" y="858"/>
                    </a:lnTo>
                    <a:lnTo>
                      <a:pt x="917" y="856"/>
                    </a:lnTo>
                    <a:lnTo>
                      <a:pt x="921" y="860"/>
                    </a:lnTo>
                    <a:lnTo>
                      <a:pt x="923" y="861"/>
                    </a:lnTo>
                    <a:lnTo>
                      <a:pt x="931" y="868"/>
                    </a:lnTo>
                    <a:lnTo>
                      <a:pt x="935" y="868"/>
                    </a:lnTo>
                    <a:lnTo>
                      <a:pt x="944" y="860"/>
                    </a:lnTo>
                    <a:lnTo>
                      <a:pt x="949" y="863"/>
                    </a:lnTo>
                    <a:lnTo>
                      <a:pt x="974" y="873"/>
                    </a:lnTo>
                    <a:lnTo>
                      <a:pt x="984" y="878"/>
                    </a:lnTo>
                    <a:lnTo>
                      <a:pt x="989" y="876"/>
                    </a:lnTo>
                    <a:lnTo>
                      <a:pt x="992" y="886"/>
                    </a:lnTo>
                    <a:lnTo>
                      <a:pt x="994" y="889"/>
                    </a:lnTo>
                    <a:lnTo>
                      <a:pt x="1000" y="894"/>
                    </a:lnTo>
                    <a:lnTo>
                      <a:pt x="1005" y="891"/>
                    </a:lnTo>
                    <a:lnTo>
                      <a:pt x="1012" y="888"/>
                    </a:lnTo>
                    <a:lnTo>
                      <a:pt x="1013" y="884"/>
                    </a:lnTo>
                    <a:lnTo>
                      <a:pt x="1015" y="888"/>
                    </a:lnTo>
                    <a:lnTo>
                      <a:pt x="1018" y="893"/>
                    </a:lnTo>
                    <a:lnTo>
                      <a:pt x="1028" y="891"/>
                    </a:lnTo>
                    <a:lnTo>
                      <a:pt x="1030" y="888"/>
                    </a:lnTo>
                    <a:lnTo>
                      <a:pt x="1035" y="886"/>
                    </a:lnTo>
                    <a:lnTo>
                      <a:pt x="1036" y="883"/>
                    </a:lnTo>
                    <a:lnTo>
                      <a:pt x="1040" y="881"/>
                    </a:lnTo>
                    <a:lnTo>
                      <a:pt x="1045" y="883"/>
                    </a:lnTo>
                    <a:lnTo>
                      <a:pt x="1045" y="886"/>
                    </a:lnTo>
                    <a:lnTo>
                      <a:pt x="1056" y="879"/>
                    </a:lnTo>
                    <a:lnTo>
                      <a:pt x="1055" y="888"/>
                    </a:lnTo>
                    <a:lnTo>
                      <a:pt x="1059" y="884"/>
                    </a:lnTo>
                    <a:lnTo>
                      <a:pt x="1071" y="889"/>
                    </a:lnTo>
                    <a:lnTo>
                      <a:pt x="1071" y="884"/>
                    </a:lnTo>
                    <a:lnTo>
                      <a:pt x="1078" y="886"/>
                    </a:lnTo>
                    <a:lnTo>
                      <a:pt x="1086" y="884"/>
                    </a:lnTo>
                    <a:lnTo>
                      <a:pt x="1087" y="879"/>
                    </a:lnTo>
                    <a:lnTo>
                      <a:pt x="1091" y="876"/>
                    </a:lnTo>
                    <a:lnTo>
                      <a:pt x="1094" y="876"/>
                    </a:lnTo>
                    <a:lnTo>
                      <a:pt x="1099" y="873"/>
                    </a:lnTo>
                    <a:lnTo>
                      <a:pt x="1101" y="866"/>
                    </a:lnTo>
                    <a:lnTo>
                      <a:pt x="1101" y="861"/>
                    </a:lnTo>
                    <a:lnTo>
                      <a:pt x="1094" y="856"/>
                    </a:lnTo>
                    <a:lnTo>
                      <a:pt x="1091" y="851"/>
                    </a:lnTo>
                    <a:lnTo>
                      <a:pt x="1091" y="845"/>
                    </a:lnTo>
                    <a:lnTo>
                      <a:pt x="1092" y="842"/>
                    </a:lnTo>
                    <a:lnTo>
                      <a:pt x="1094" y="837"/>
                    </a:lnTo>
                    <a:lnTo>
                      <a:pt x="1082" y="827"/>
                    </a:lnTo>
                    <a:lnTo>
                      <a:pt x="1078" y="817"/>
                    </a:lnTo>
                    <a:lnTo>
                      <a:pt x="1073" y="815"/>
                    </a:lnTo>
                    <a:lnTo>
                      <a:pt x="1071" y="812"/>
                    </a:lnTo>
                    <a:lnTo>
                      <a:pt x="1069" y="812"/>
                    </a:lnTo>
                    <a:lnTo>
                      <a:pt x="1068" y="812"/>
                    </a:lnTo>
                    <a:lnTo>
                      <a:pt x="1063" y="810"/>
                    </a:lnTo>
                    <a:lnTo>
                      <a:pt x="1063" y="809"/>
                    </a:lnTo>
                    <a:lnTo>
                      <a:pt x="1063" y="817"/>
                    </a:lnTo>
                    <a:lnTo>
                      <a:pt x="1064" y="817"/>
                    </a:lnTo>
                    <a:lnTo>
                      <a:pt x="1063" y="817"/>
                    </a:lnTo>
                    <a:lnTo>
                      <a:pt x="1061" y="822"/>
                    </a:lnTo>
                    <a:lnTo>
                      <a:pt x="1059" y="820"/>
                    </a:lnTo>
                    <a:lnTo>
                      <a:pt x="1061" y="820"/>
                    </a:lnTo>
                    <a:lnTo>
                      <a:pt x="1063" y="817"/>
                    </a:lnTo>
                    <a:lnTo>
                      <a:pt x="1063" y="814"/>
                    </a:lnTo>
                    <a:lnTo>
                      <a:pt x="1063" y="809"/>
                    </a:lnTo>
                    <a:lnTo>
                      <a:pt x="1061" y="810"/>
                    </a:lnTo>
                    <a:lnTo>
                      <a:pt x="1056" y="810"/>
                    </a:lnTo>
                    <a:lnTo>
                      <a:pt x="1053" y="809"/>
                    </a:lnTo>
                    <a:lnTo>
                      <a:pt x="1041" y="805"/>
                    </a:lnTo>
                    <a:lnTo>
                      <a:pt x="1040" y="802"/>
                    </a:lnTo>
                    <a:lnTo>
                      <a:pt x="1041" y="797"/>
                    </a:lnTo>
                    <a:lnTo>
                      <a:pt x="1038" y="794"/>
                    </a:lnTo>
                    <a:lnTo>
                      <a:pt x="1033" y="792"/>
                    </a:lnTo>
                    <a:lnTo>
                      <a:pt x="1027" y="786"/>
                    </a:lnTo>
                    <a:lnTo>
                      <a:pt x="1020" y="789"/>
                    </a:lnTo>
                    <a:lnTo>
                      <a:pt x="1015" y="786"/>
                    </a:lnTo>
                    <a:lnTo>
                      <a:pt x="1013" y="781"/>
                    </a:lnTo>
                    <a:lnTo>
                      <a:pt x="1009" y="777"/>
                    </a:lnTo>
                    <a:lnTo>
                      <a:pt x="1009" y="776"/>
                    </a:lnTo>
                    <a:lnTo>
                      <a:pt x="1005" y="772"/>
                    </a:lnTo>
                    <a:lnTo>
                      <a:pt x="1005" y="771"/>
                    </a:lnTo>
                    <a:lnTo>
                      <a:pt x="999" y="769"/>
                    </a:lnTo>
                    <a:lnTo>
                      <a:pt x="1000" y="769"/>
                    </a:lnTo>
                    <a:lnTo>
                      <a:pt x="994" y="769"/>
                    </a:lnTo>
                    <a:lnTo>
                      <a:pt x="977" y="763"/>
                    </a:lnTo>
                    <a:lnTo>
                      <a:pt x="971" y="763"/>
                    </a:lnTo>
                    <a:lnTo>
                      <a:pt x="963" y="761"/>
                    </a:lnTo>
                    <a:lnTo>
                      <a:pt x="963" y="759"/>
                    </a:lnTo>
                    <a:lnTo>
                      <a:pt x="961" y="761"/>
                    </a:lnTo>
                    <a:lnTo>
                      <a:pt x="958" y="758"/>
                    </a:lnTo>
                    <a:lnTo>
                      <a:pt x="954" y="754"/>
                    </a:lnTo>
                    <a:lnTo>
                      <a:pt x="948" y="751"/>
                    </a:lnTo>
                    <a:lnTo>
                      <a:pt x="941" y="754"/>
                    </a:lnTo>
                    <a:lnTo>
                      <a:pt x="936" y="753"/>
                    </a:lnTo>
                    <a:lnTo>
                      <a:pt x="933" y="751"/>
                    </a:lnTo>
                    <a:lnTo>
                      <a:pt x="931" y="751"/>
                    </a:lnTo>
                    <a:lnTo>
                      <a:pt x="923" y="748"/>
                    </a:lnTo>
                    <a:lnTo>
                      <a:pt x="921" y="746"/>
                    </a:lnTo>
                    <a:lnTo>
                      <a:pt x="913" y="741"/>
                    </a:lnTo>
                    <a:lnTo>
                      <a:pt x="908" y="736"/>
                    </a:lnTo>
                    <a:lnTo>
                      <a:pt x="905" y="733"/>
                    </a:lnTo>
                    <a:lnTo>
                      <a:pt x="903" y="733"/>
                    </a:lnTo>
                    <a:lnTo>
                      <a:pt x="897" y="733"/>
                    </a:lnTo>
                    <a:lnTo>
                      <a:pt x="885" y="726"/>
                    </a:lnTo>
                    <a:lnTo>
                      <a:pt x="877" y="720"/>
                    </a:lnTo>
                    <a:lnTo>
                      <a:pt x="879" y="717"/>
                    </a:lnTo>
                    <a:lnTo>
                      <a:pt x="877" y="722"/>
                    </a:lnTo>
                    <a:lnTo>
                      <a:pt x="879" y="726"/>
                    </a:lnTo>
                    <a:lnTo>
                      <a:pt x="875" y="728"/>
                    </a:lnTo>
                    <a:lnTo>
                      <a:pt x="872" y="726"/>
                    </a:lnTo>
                    <a:lnTo>
                      <a:pt x="872" y="728"/>
                    </a:lnTo>
                    <a:lnTo>
                      <a:pt x="874" y="736"/>
                    </a:lnTo>
                    <a:lnTo>
                      <a:pt x="871" y="741"/>
                    </a:lnTo>
                    <a:lnTo>
                      <a:pt x="875" y="745"/>
                    </a:lnTo>
                    <a:lnTo>
                      <a:pt x="871" y="741"/>
                    </a:lnTo>
                    <a:lnTo>
                      <a:pt x="869" y="743"/>
                    </a:lnTo>
                    <a:lnTo>
                      <a:pt x="874" y="748"/>
                    </a:lnTo>
                    <a:lnTo>
                      <a:pt x="869" y="743"/>
                    </a:lnTo>
                    <a:lnTo>
                      <a:pt x="857" y="756"/>
                    </a:lnTo>
                    <a:lnTo>
                      <a:pt x="856" y="756"/>
                    </a:lnTo>
                    <a:lnTo>
                      <a:pt x="856" y="759"/>
                    </a:lnTo>
                    <a:lnTo>
                      <a:pt x="854" y="756"/>
                    </a:lnTo>
                    <a:lnTo>
                      <a:pt x="849" y="758"/>
                    </a:lnTo>
                    <a:lnTo>
                      <a:pt x="851" y="756"/>
                    </a:lnTo>
                    <a:lnTo>
                      <a:pt x="838" y="751"/>
                    </a:lnTo>
                    <a:lnTo>
                      <a:pt x="836" y="753"/>
                    </a:lnTo>
                    <a:lnTo>
                      <a:pt x="834" y="763"/>
                    </a:lnTo>
                    <a:lnTo>
                      <a:pt x="834" y="764"/>
                    </a:lnTo>
                    <a:lnTo>
                      <a:pt x="831" y="764"/>
                    </a:lnTo>
                    <a:lnTo>
                      <a:pt x="828" y="766"/>
                    </a:lnTo>
                    <a:lnTo>
                      <a:pt x="826" y="766"/>
                    </a:lnTo>
                    <a:lnTo>
                      <a:pt x="823" y="766"/>
                    </a:lnTo>
                    <a:lnTo>
                      <a:pt x="820" y="766"/>
                    </a:lnTo>
                    <a:lnTo>
                      <a:pt x="818" y="766"/>
                    </a:lnTo>
                    <a:lnTo>
                      <a:pt x="820" y="766"/>
                    </a:lnTo>
                    <a:lnTo>
                      <a:pt x="821" y="766"/>
                    </a:lnTo>
                    <a:lnTo>
                      <a:pt x="826" y="766"/>
                    </a:lnTo>
                    <a:lnTo>
                      <a:pt x="833" y="764"/>
                    </a:lnTo>
                    <a:lnTo>
                      <a:pt x="834" y="763"/>
                    </a:lnTo>
                    <a:lnTo>
                      <a:pt x="834" y="761"/>
                    </a:lnTo>
                    <a:lnTo>
                      <a:pt x="836" y="751"/>
                    </a:lnTo>
                    <a:lnTo>
                      <a:pt x="838" y="749"/>
                    </a:lnTo>
                    <a:lnTo>
                      <a:pt x="841" y="749"/>
                    </a:lnTo>
                    <a:lnTo>
                      <a:pt x="841" y="748"/>
                    </a:lnTo>
                    <a:lnTo>
                      <a:pt x="846" y="753"/>
                    </a:lnTo>
                    <a:lnTo>
                      <a:pt x="856" y="754"/>
                    </a:lnTo>
                    <a:lnTo>
                      <a:pt x="871" y="736"/>
                    </a:lnTo>
                    <a:lnTo>
                      <a:pt x="869" y="731"/>
                    </a:lnTo>
                    <a:lnTo>
                      <a:pt x="867" y="733"/>
                    </a:lnTo>
                    <a:lnTo>
                      <a:pt x="866" y="731"/>
                    </a:lnTo>
                    <a:lnTo>
                      <a:pt x="869" y="728"/>
                    </a:lnTo>
                    <a:lnTo>
                      <a:pt x="867" y="726"/>
                    </a:lnTo>
                    <a:lnTo>
                      <a:pt x="866" y="731"/>
                    </a:lnTo>
                    <a:lnTo>
                      <a:pt x="851" y="731"/>
                    </a:lnTo>
                    <a:lnTo>
                      <a:pt x="849" y="730"/>
                    </a:lnTo>
                    <a:lnTo>
                      <a:pt x="848" y="730"/>
                    </a:lnTo>
                    <a:lnTo>
                      <a:pt x="848" y="728"/>
                    </a:lnTo>
                    <a:lnTo>
                      <a:pt x="848" y="730"/>
                    </a:lnTo>
                    <a:lnTo>
                      <a:pt x="848" y="728"/>
                    </a:lnTo>
                    <a:lnTo>
                      <a:pt x="849" y="730"/>
                    </a:lnTo>
                    <a:lnTo>
                      <a:pt x="848" y="730"/>
                    </a:lnTo>
                    <a:lnTo>
                      <a:pt x="849" y="730"/>
                    </a:lnTo>
                    <a:lnTo>
                      <a:pt x="852" y="731"/>
                    </a:lnTo>
                    <a:lnTo>
                      <a:pt x="856" y="731"/>
                    </a:lnTo>
                    <a:lnTo>
                      <a:pt x="861" y="725"/>
                    </a:lnTo>
                    <a:lnTo>
                      <a:pt x="869" y="725"/>
                    </a:lnTo>
                    <a:lnTo>
                      <a:pt x="871" y="723"/>
                    </a:lnTo>
                    <a:lnTo>
                      <a:pt x="869" y="725"/>
                    </a:lnTo>
                    <a:lnTo>
                      <a:pt x="867" y="722"/>
                    </a:lnTo>
                    <a:lnTo>
                      <a:pt x="869" y="723"/>
                    </a:lnTo>
                    <a:lnTo>
                      <a:pt x="867" y="718"/>
                    </a:lnTo>
                    <a:lnTo>
                      <a:pt x="871" y="715"/>
                    </a:lnTo>
                    <a:lnTo>
                      <a:pt x="869" y="717"/>
                    </a:lnTo>
                    <a:lnTo>
                      <a:pt x="861" y="707"/>
                    </a:lnTo>
                    <a:lnTo>
                      <a:pt x="861" y="703"/>
                    </a:lnTo>
                    <a:lnTo>
                      <a:pt x="857" y="699"/>
                    </a:lnTo>
                    <a:lnTo>
                      <a:pt x="857" y="694"/>
                    </a:lnTo>
                    <a:lnTo>
                      <a:pt x="859" y="692"/>
                    </a:lnTo>
                    <a:lnTo>
                      <a:pt x="857" y="692"/>
                    </a:lnTo>
                    <a:lnTo>
                      <a:pt x="857" y="689"/>
                    </a:lnTo>
                    <a:lnTo>
                      <a:pt x="859" y="690"/>
                    </a:lnTo>
                    <a:lnTo>
                      <a:pt x="857" y="689"/>
                    </a:lnTo>
                    <a:lnTo>
                      <a:pt x="859" y="689"/>
                    </a:lnTo>
                    <a:lnTo>
                      <a:pt x="861" y="687"/>
                    </a:lnTo>
                    <a:lnTo>
                      <a:pt x="857" y="685"/>
                    </a:lnTo>
                    <a:lnTo>
                      <a:pt x="859" y="684"/>
                    </a:lnTo>
                    <a:lnTo>
                      <a:pt x="859" y="685"/>
                    </a:lnTo>
                    <a:lnTo>
                      <a:pt x="861" y="685"/>
                    </a:lnTo>
                    <a:lnTo>
                      <a:pt x="859" y="685"/>
                    </a:lnTo>
                    <a:lnTo>
                      <a:pt x="861" y="687"/>
                    </a:lnTo>
                    <a:lnTo>
                      <a:pt x="862" y="689"/>
                    </a:lnTo>
                    <a:lnTo>
                      <a:pt x="864" y="687"/>
                    </a:lnTo>
                    <a:lnTo>
                      <a:pt x="866" y="689"/>
                    </a:lnTo>
                    <a:lnTo>
                      <a:pt x="864" y="684"/>
                    </a:lnTo>
                    <a:lnTo>
                      <a:pt x="852" y="679"/>
                    </a:lnTo>
                    <a:lnTo>
                      <a:pt x="849" y="677"/>
                    </a:lnTo>
                    <a:lnTo>
                      <a:pt x="846" y="674"/>
                    </a:lnTo>
                    <a:lnTo>
                      <a:pt x="841" y="671"/>
                    </a:lnTo>
                    <a:lnTo>
                      <a:pt x="839" y="669"/>
                    </a:lnTo>
                    <a:lnTo>
                      <a:pt x="841" y="671"/>
                    </a:lnTo>
                    <a:lnTo>
                      <a:pt x="831" y="656"/>
                    </a:lnTo>
                    <a:lnTo>
                      <a:pt x="829" y="652"/>
                    </a:lnTo>
                    <a:lnTo>
                      <a:pt x="825" y="648"/>
                    </a:lnTo>
                    <a:lnTo>
                      <a:pt x="821" y="644"/>
                    </a:lnTo>
                    <a:lnTo>
                      <a:pt x="821" y="639"/>
                    </a:lnTo>
                    <a:lnTo>
                      <a:pt x="818" y="633"/>
                    </a:lnTo>
                    <a:lnTo>
                      <a:pt x="816" y="620"/>
                    </a:lnTo>
                    <a:lnTo>
                      <a:pt x="815" y="610"/>
                    </a:lnTo>
                    <a:lnTo>
                      <a:pt x="813" y="603"/>
                    </a:lnTo>
                    <a:lnTo>
                      <a:pt x="813" y="601"/>
                    </a:lnTo>
                    <a:lnTo>
                      <a:pt x="811" y="600"/>
                    </a:lnTo>
                    <a:lnTo>
                      <a:pt x="815" y="600"/>
                    </a:lnTo>
                    <a:lnTo>
                      <a:pt x="811" y="600"/>
                    </a:lnTo>
                    <a:lnTo>
                      <a:pt x="808" y="597"/>
                    </a:lnTo>
                    <a:lnTo>
                      <a:pt x="805" y="587"/>
                    </a:lnTo>
                    <a:lnTo>
                      <a:pt x="802" y="578"/>
                    </a:lnTo>
                    <a:lnTo>
                      <a:pt x="802" y="575"/>
                    </a:lnTo>
                    <a:lnTo>
                      <a:pt x="800" y="565"/>
                    </a:lnTo>
                    <a:lnTo>
                      <a:pt x="800" y="562"/>
                    </a:lnTo>
                    <a:lnTo>
                      <a:pt x="803" y="559"/>
                    </a:lnTo>
                    <a:lnTo>
                      <a:pt x="802" y="559"/>
                    </a:lnTo>
                    <a:lnTo>
                      <a:pt x="802" y="557"/>
                    </a:lnTo>
                    <a:lnTo>
                      <a:pt x="803" y="559"/>
                    </a:lnTo>
                    <a:lnTo>
                      <a:pt x="800" y="554"/>
                    </a:lnTo>
                    <a:lnTo>
                      <a:pt x="802" y="554"/>
                    </a:lnTo>
                    <a:lnTo>
                      <a:pt x="802" y="552"/>
                    </a:lnTo>
                    <a:lnTo>
                      <a:pt x="803" y="551"/>
                    </a:lnTo>
                    <a:lnTo>
                      <a:pt x="800" y="554"/>
                    </a:lnTo>
                    <a:lnTo>
                      <a:pt x="800" y="552"/>
                    </a:lnTo>
                    <a:lnTo>
                      <a:pt x="797" y="555"/>
                    </a:lnTo>
                    <a:lnTo>
                      <a:pt x="790" y="555"/>
                    </a:lnTo>
                    <a:lnTo>
                      <a:pt x="788" y="555"/>
                    </a:lnTo>
                    <a:lnTo>
                      <a:pt x="788" y="552"/>
                    </a:lnTo>
                    <a:lnTo>
                      <a:pt x="787" y="552"/>
                    </a:lnTo>
                    <a:lnTo>
                      <a:pt x="783" y="554"/>
                    </a:lnTo>
                    <a:lnTo>
                      <a:pt x="780" y="552"/>
                    </a:lnTo>
                    <a:lnTo>
                      <a:pt x="775" y="554"/>
                    </a:lnTo>
                    <a:lnTo>
                      <a:pt x="765" y="560"/>
                    </a:lnTo>
                    <a:lnTo>
                      <a:pt x="764" y="564"/>
                    </a:lnTo>
                    <a:lnTo>
                      <a:pt x="762" y="560"/>
                    </a:lnTo>
                    <a:lnTo>
                      <a:pt x="760" y="560"/>
                    </a:lnTo>
                    <a:lnTo>
                      <a:pt x="759" y="562"/>
                    </a:lnTo>
                    <a:lnTo>
                      <a:pt x="760" y="560"/>
                    </a:lnTo>
                    <a:lnTo>
                      <a:pt x="762" y="560"/>
                    </a:lnTo>
                    <a:lnTo>
                      <a:pt x="764" y="564"/>
                    </a:lnTo>
                    <a:lnTo>
                      <a:pt x="765" y="559"/>
                    </a:lnTo>
                    <a:lnTo>
                      <a:pt x="774" y="554"/>
                    </a:lnTo>
                    <a:lnTo>
                      <a:pt x="777" y="552"/>
                    </a:lnTo>
                    <a:lnTo>
                      <a:pt x="782" y="552"/>
                    </a:lnTo>
                    <a:lnTo>
                      <a:pt x="783" y="554"/>
                    </a:lnTo>
                    <a:lnTo>
                      <a:pt x="785" y="552"/>
                    </a:lnTo>
                    <a:lnTo>
                      <a:pt x="787" y="551"/>
                    </a:lnTo>
                    <a:lnTo>
                      <a:pt x="788" y="552"/>
                    </a:lnTo>
                    <a:lnTo>
                      <a:pt x="788" y="554"/>
                    </a:lnTo>
                    <a:lnTo>
                      <a:pt x="790" y="555"/>
                    </a:lnTo>
                    <a:lnTo>
                      <a:pt x="795" y="555"/>
                    </a:lnTo>
                    <a:lnTo>
                      <a:pt x="797" y="555"/>
                    </a:lnTo>
                    <a:lnTo>
                      <a:pt x="798" y="551"/>
                    </a:lnTo>
                    <a:lnTo>
                      <a:pt x="798" y="552"/>
                    </a:lnTo>
                    <a:lnTo>
                      <a:pt x="800" y="551"/>
                    </a:lnTo>
                    <a:lnTo>
                      <a:pt x="798" y="549"/>
                    </a:lnTo>
                    <a:lnTo>
                      <a:pt x="803" y="549"/>
                    </a:lnTo>
                    <a:lnTo>
                      <a:pt x="798" y="549"/>
                    </a:lnTo>
                    <a:lnTo>
                      <a:pt x="798" y="542"/>
                    </a:lnTo>
                    <a:lnTo>
                      <a:pt x="798" y="536"/>
                    </a:lnTo>
                    <a:lnTo>
                      <a:pt x="803" y="528"/>
                    </a:lnTo>
                    <a:lnTo>
                      <a:pt x="800" y="519"/>
                    </a:lnTo>
                    <a:lnTo>
                      <a:pt x="793" y="513"/>
                    </a:lnTo>
                    <a:lnTo>
                      <a:pt x="793" y="509"/>
                    </a:lnTo>
                    <a:lnTo>
                      <a:pt x="788" y="508"/>
                    </a:lnTo>
                    <a:lnTo>
                      <a:pt x="787" y="506"/>
                    </a:lnTo>
                    <a:lnTo>
                      <a:pt x="783" y="503"/>
                    </a:lnTo>
                    <a:lnTo>
                      <a:pt x="780" y="498"/>
                    </a:lnTo>
                    <a:lnTo>
                      <a:pt x="785" y="495"/>
                    </a:lnTo>
                    <a:lnTo>
                      <a:pt x="780" y="500"/>
                    </a:lnTo>
                    <a:lnTo>
                      <a:pt x="777" y="498"/>
                    </a:lnTo>
                    <a:lnTo>
                      <a:pt x="777" y="496"/>
                    </a:lnTo>
                    <a:lnTo>
                      <a:pt x="772" y="498"/>
                    </a:lnTo>
                    <a:lnTo>
                      <a:pt x="769" y="509"/>
                    </a:lnTo>
                    <a:lnTo>
                      <a:pt x="769" y="511"/>
                    </a:lnTo>
                    <a:lnTo>
                      <a:pt x="765" y="509"/>
                    </a:lnTo>
                    <a:lnTo>
                      <a:pt x="764" y="511"/>
                    </a:lnTo>
                    <a:lnTo>
                      <a:pt x="760" y="509"/>
                    </a:lnTo>
                    <a:lnTo>
                      <a:pt x="760" y="511"/>
                    </a:lnTo>
                    <a:lnTo>
                      <a:pt x="762" y="513"/>
                    </a:lnTo>
                    <a:lnTo>
                      <a:pt x="764" y="514"/>
                    </a:lnTo>
                    <a:lnTo>
                      <a:pt x="765" y="514"/>
                    </a:lnTo>
                    <a:lnTo>
                      <a:pt x="767" y="514"/>
                    </a:lnTo>
                    <a:lnTo>
                      <a:pt x="765" y="514"/>
                    </a:lnTo>
                    <a:lnTo>
                      <a:pt x="764" y="514"/>
                    </a:lnTo>
                    <a:lnTo>
                      <a:pt x="760" y="513"/>
                    </a:lnTo>
                    <a:lnTo>
                      <a:pt x="759" y="516"/>
                    </a:lnTo>
                    <a:lnTo>
                      <a:pt x="757" y="516"/>
                    </a:lnTo>
                    <a:lnTo>
                      <a:pt x="759" y="516"/>
                    </a:lnTo>
                    <a:lnTo>
                      <a:pt x="760" y="513"/>
                    </a:lnTo>
                    <a:lnTo>
                      <a:pt x="762" y="513"/>
                    </a:lnTo>
                    <a:lnTo>
                      <a:pt x="760" y="511"/>
                    </a:lnTo>
                    <a:lnTo>
                      <a:pt x="760" y="509"/>
                    </a:lnTo>
                    <a:lnTo>
                      <a:pt x="749" y="509"/>
                    </a:lnTo>
                    <a:lnTo>
                      <a:pt x="746" y="509"/>
                    </a:lnTo>
                    <a:lnTo>
                      <a:pt x="741" y="511"/>
                    </a:lnTo>
                    <a:lnTo>
                      <a:pt x="739" y="516"/>
                    </a:lnTo>
                    <a:lnTo>
                      <a:pt x="739" y="518"/>
                    </a:lnTo>
                    <a:lnTo>
                      <a:pt x="739" y="523"/>
                    </a:lnTo>
                    <a:lnTo>
                      <a:pt x="741" y="523"/>
                    </a:lnTo>
                    <a:lnTo>
                      <a:pt x="741" y="526"/>
                    </a:lnTo>
                    <a:lnTo>
                      <a:pt x="741" y="528"/>
                    </a:lnTo>
                    <a:lnTo>
                      <a:pt x="742" y="526"/>
                    </a:lnTo>
                    <a:lnTo>
                      <a:pt x="742" y="528"/>
                    </a:lnTo>
                    <a:lnTo>
                      <a:pt x="744" y="528"/>
                    </a:lnTo>
                    <a:lnTo>
                      <a:pt x="744" y="526"/>
                    </a:lnTo>
                    <a:lnTo>
                      <a:pt x="746" y="526"/>
                    </a:lnTo>
                    <a:lnTo>
                      <a:pt x="746" y="528"/>
                    </a:lnTo>
                    <a:lnTo>
                      <a:pt x="746" y="529"/>
                    </a:lnTo>
                    <a:lnTo>
                      <a:pt x="744" y="532"/>
                    </a:lnTo>
                    <a:lnTo>
                      <a:pt x="747" y="542"/>
                    </a:lnTo>
                    <a:lnTo>
                      <a:pt x="741" y="542"/>
                    </a:lnTo>
                    <a:lnTo>
                      <a:pt x="734" y="544"/>
                    </a:lnTo>
                    <a:lnTo>
                      <a:pt x="733" y="546"/>
                    </a:lnTo>
                    <a:lnTo>
                      <a:pt x="731" y="544"/>
                    </a:lnTo>
                    <a:lnTo>
                      <a:pt x="729" y="546"/>
                    </a:lnTo>
                    <a:lnTo>
                      <a:pt x="726" y="547"/>
                    </a:lnTo>
                    <a:lnTo>
                      <a:pt x="728" y="549"/>
                    </a:lnTo>
                    <a:lnTo>
                      <a:pt x="729" y="554"/>
                    </a:lnTo>
                    <a:lnTo>
                      <a:pt x="731" y="557"/>
                    </a:lnTo>
                    <a:lnTo>
                      <a:pt x="729" y="559"/>
                    </a:lnTo>
                    <a:lnTo>
                      <a:pt x="731" y="562"/>
                    </a:lnTo>
                    <a:lnTo>
                      <a:pt x="731" y="565"/>
                    </a:lnTo>
                    <a:lnTo>
                      <a:pt x="731" y="567"/>
                    </a:lnTo>
                    <a:lnTo>
                      <a:pt x="731" y="572"/>
                    </a:lnTo>
                    <a:lnTo>
                      <a:pt x="731" y="574"/>
                    </a:lnTo>
                    <a:lnTo>
                      <a:pt x="728" y="574"/>
                    </a:lnTo>
                    <a:lnTo>
                      <a:pt x="724" y="575"/>
                    </a:lnTo>
                    <a:lnTo>
                      <a:pt x="723" y="574"/>
                    </a:lnTo>
                    <a:lnTo>
                      <a:pt x="721" y="569"/>
                    </a:lnTo>
                    <a:lnTo>
                      <a:pt x="719" y="565"/>
                    </a:lnTo>
                    <a:lnTo>
                      <a:pt x="719" y="562"/>
                    </a:lnTo>
                    <a:lnTo>
                      <a:pt x="718" y="560"/>
                    </a:lnTo>
                    <a:lnTo>
                      <a:pt x="713" y="564"/>
                    </a:lnTo>
                    <a:lnTo>
                      <a:pt x="710" y="570"/>
                    </a:lnTo>
                    <a:lnTo>
                      <a:pt x="706" y="570"/>
                    </a:lnTo>
                    <a:lnTo>
                      <a:pt x="701" y="575"/>
                    </a:lnTo>
                    <a:lnTo>
                      <a:pt x="698" y="575"/>
                    </a:lnTo>
                    <a:lnTo>
                      <a:pt x="700" y="574"/>
                    </a:lnTo>
                    <a:lnTo>
                      <a:pt x="698" y="565"/>
                    </a:lnTo>
                    <a:lnTo>
                      <a:pt x="695" y="569"/>
                    </a:lnTo>
                    <a:lnTo>
                      <a:pt x="693" y="565"/>
                    </a:lnTo>
                    <a:lnTo>
                      <a:pt x="688" y="562"/>
                    </a:lnTo>
                    <a:lnTo>
                      <a:pt x="690" y="559"/>
                    </a:lnTo>
                    <a:lnTo>
                      <a:pt x="690" y="557"/>
                    </a:lnTo>
                    <a:lnTo>
                      <a:pt x="685" y="557"/>
                    </a:lnTo>
                    <a:lnTo>
                      <a:pt x="683" y="560"/>
                    </a:lnTo>
                    <a:lnTo>
                      <a:pt x="682" y="559"/>
                    </a:lnTo>
                    <a:lnTo>
                      <a:pt x="682" y="557"/>
                    </a:lnTo>
                    <a:lnTo>
                      <a:pt x="675" y="557"/>
                    </a:lnTo>
                    <a:lnTo>
                      <a:pt x="672" y="555"/>
                    </a:lnTo>
                    <a:lnTo>
                      <a:pt x="667" y="551"/>
                    </a:lnTo>
                    <a:lnTo>
                      <a:pt x="664" y="552"/>
                    </a:lnTo>
                    <a:lnTo>
                      <a:pt x="660" y="555"/>
                    </a:lnTo>
                    <a:lnTo>
                      <a:pt x="660" y="557"/>
                    </a:lnTo>
                    <a:lnTo>
                      <a:pt x="655" y="557"/>
                    </a:lnTo>
                    <a:lnTo>
                      <a:pt x="652" y="555"/>
                    </a:lnTo>
                    <a:lnTo>
                      <a:pt x="649" y="557"/>
                    </a:lnTo>
                    <a:lnTo>
                      <a:pt x="647" y="560"/>
                    </a:lnTo>
                    <a:lnTo>
                      <a:pt x="642" y="557"/>
                    </a:lnTo>
                    <a:lnTo>
                      <a:pt x="639" y="559"/>
                    </a:lnTo>
                    <a:lnTo>
                      <a:pt x="636" y="555"/>
                    </a:lnTo>
                    <a:lnTo>
                      <a:pt x="627" y="552"/>
                    </a:lnTo>
                    <a:lnTo>
                      <a:pt x="631" y="544"/>
                    </a:lnTo>
                    <a:lnTo>
                      <a:pt x="636" y="544"/>
                    </a:lnTo>
                    <a:lnTo>
                      <a:pt x="637" y="541"/>
                    </a:lnTo>
                    <a:lnTo>
                      <a:pt x="637" y="537"/>
                    </a:lnTo>
                    <a:lnTo>
                      <a:pt x="634" y="536"/>
                    </a:lnTo>
                    <a:lnTo>
                      <a:pt x="634" y="529"/>
                    </a:lnTo>
                    <a:lnTo>
                      <a:pt x="637" y="528"/>
                    </a:lnTo>
                    <a:lnTo>
                      <a:pt x="637" y="526"/>
                    </a:lnTo>
                    <a:lnTo>
                      <a:pt x="637" y="523"/>
                    </a:lnTo>
                    <a:lnTo>
                      <a:pt x="641" y="521"/>
                    </a:lnTo>
                    <a:lnTo>
                      <a:pt x="641" y="516"/>
                    </a:lnTo>
                    <a:lnTo>
                      <a:pt x="642" y="514"/>
                    </a:lnTo>
                    <a:lnTo>
                      <a:pt x="645" y="514"/>
                    </a:lnTo>
                    <a:lnTo>
                      <a:pt x="650" y="511"/>
                    </a:lnTo>
                    <a:lnTo>
                      <a:pt x="657" y="513"/>
                    </a:lnTo>
                    <a:lnTo>
                      <a:pt x="654" y="506"/>
                    </a:lnTo>
                    <a:lnTo>
                      <a:pt x="655" y="498"/>
                    </a:lnTo>
                    <a:lnTo>
                      <a:pt x="660" y="500"/>
                    </a:lnTo>
                    <a:lnTo>
                      <a:pt x="660" y="496"/>
                    </a:lnTo>
                    <a:lnTo>
                      <a:pt x="660" y="493"/>
                    </a:lnTo>
                    <a:lnTo>
                      <a:pt x="664" y="491"/>
                    </a:lnTo>
                    <a:lnTo>
                      <a:pt x="664" y="486"/>
                    </a:lnTo>
                    <a:lnTo>
                      <a:pt x="667" y="486"/>
                    </a:lnTo>
                    <a:lnTo>
                      <a:pt x="667" y="483"/>
                    </a:lnTo>
                    <a:lnTo>
                      <a:pt x="672" y="480"/>
                    </a:lnTo>
                    <a:lnTo>
                      <a:pt x="675" y="480"/>
                    </a:lnTo>
                    <a:lnTo>
                      <a:pt x="675" y="478"/>
                    </a:lnTo>
                    <a:lnTo>
                      <a:pt x="678" y="475"/>
                    </a:lnTo>
                    <a:lnTo>
                      <a:pt x="683" y="475"/>
                    </a:lnTo>
                    <a:lnTo>
                      <a:pt x="682" y="468"/>
                    </a:lnTo>
                    <a:lnTo>
                      <a:pt x="677" y="468"/>
                    </a:lnTo>
                    <a:lnTo>
                      <a:pt x="677" y="460"/>
                    </a:lnTo>
                    <a:lnTo>
                      <a:pt x="680" y="460"/>
                    </a:lnTo>
                    <a:lnTo>
                      <a:pt x="678" y="457"/>
                    </a:lnTo>
                    <a:lnTo>
                      <a:pt x="683" y="458"/>
                    </a:lnTo>
                    <a:lnTo>
                      <a:pt x="683" y="457"/>
                    </a:lnTo>
                    <a:lnTo>
                      <a:pt x="698" y="452"/>
                    </a:lnTo>
                    <a:lnTo>
                      <a:pt x="700" y="452"/>
                    </a:lnTo>
                    <a:lnTo>
                      <a:pt x="701" y="458"/>
                    </a:lnTo>
                    <a:lnTo>
                      <a:pt x="703" y="462"/>
                    </a:lnTo>
                    <a:lnTo>
                      <a:pt x="703" y="467"/>
                    </a:lnTo>
                    <a:lnTo>
                      <a:pt x="705" y="470"/>
                    </a:lnTo>
                    <a:lnTo>
                      <a:pt x="705" y="472"/>
                    </a:lnTo>
                    <a:lnTo>
                      <a:pt x="703" y="475"/>
                    </a:lnTo>
                    <a:lnTo>
                      <a:pt x="705" y="475"/>
                    </a:lnTo>
                    <a:lnTo>
                      <a:pt x="708" y="477"/>
                    </a:lnTo>
                    <a:lnTo>
                      <a:pt x="710" y="475"/>
                    </a:lnTo>
                    <a:lnTo>
                      <a:pt x="716" y="477"/>
                    </a:lnTo>
                    <a:lnTo>
                      <a:pt x="718" y="477"/>
                    </a:lnTo>
                    <a:lnTo>
                      <a:pt x="719" y="480"/>
                    </a:lnTo>
                    <a:lnTo>
                      <a:pt x="719" y="481"/>
                    </a:lnTo>
                    <a:lnTo>
                      <a:pt x="719" y="485"/>
                    </a:lnTo>
                    <a:lnTo>
                      <a:pt x="718" y="486"/>
                    </a:lnTo>
                    <a:lnTo>
                      <a:pt x="716" y="495"/>
                    </a:lnTo>
                    <a:lnTo>
                      <a:pt x="719" y="496"/>
                    </a:lnTo>
                    <a:lnTo>
                      <a:pt x="721" y="496"/>
                    </a:lnTo>
                    <a:lnTo>
                      <a:pt x="723" y="495"/>
                    </a:lnTo>
                    <a:lnTo>
                      <a:pt x="724" y="498"/>
                    </a:lnTo>
                    <a:lnTo>
                      <a:pt x="726" y="496"/>
                    </a:lnTo>
                    <a:lnTo>
                      <a:pt x="726" y="498"/>
                    </a:lnTo>
                    <a:lnTo>
                      <a:pt x="731" y="498"/>
                    </a:lnTo>
                    <a:lnTo>
                      <a:pt x="731" y="500"/>
                    </a:lnTo>
                    <a:lnTo>
                      <a:pt x="729" y="503"/>
                    </a:lnTo>
                    <a:lnTo>
                      <a:pt x="729" y="506"/>
                    </a:lnTo>
                    <a:lnTo>
                      <a:pt x="731" y="504"/>
                    </a:lnTo>
                    <a:lnTo>
                      <a:pt x="733" y="508"/>
                    </a:lnTo>
                    <a:lnTo>
                      <a:pt x="734" y="506"/>
                    </a:lnTo>
                    <a:lnTo>
                      <a:pt x="734" y="508"/>
                    </a:lnTo>
                    <a:lnTo>
                      <a:pt x="736" y="508"/>
                    </a:lnTo>
                    <a:lnTo>
                      <a:pt x="737" y="508"/>
                    </a:lnTo>
                    <a:lnTo>
                      <a:pt x="737" y="511"/>
                    </a:lnTo>
                    <a:lnTo>
                      <a:pt x="739" y="509"/>
                    </a:lnTo>
                    <a:lnTo>
                      <a:pt x="741" y="511"/>
                    </a:lnTo>
                    <a:lnTo>
                      <a:pt x="742" y="509"/>
                    </a:lnTo>
                    <a:lnTo>
                      <a:pt x="746" y="508"/>
                    </a:lnTo>
                    <a:lnTo>
                      <a:pt x="751" y="508"/>
                    </a:lnTo>
                    <a:lnTo>
                      <a:pt x="746" y="503"/>
                    </a:lnTo>
                    <a:lnTo>
                      <a:pt x="751" y="508"/>
                    </a:lnTo>
                    <a:lnTo>
                      <a:pt x="756" y="508"/>
                    </a:lnTo>
                    <a:lnTo>
                      <a:pt x="760" y="506"/>
                    </a:lnTo>
                    <a:lnTo>
                      <a:pt x="760" y="508"/>
                    </a:lnTo>
                    <a:lnTo>
                      <a:pt x="762" y="508"/>
                    </a:lnTo>
                    <a:lnTo>
                      <a:pt x="767" y="508"/>
                    </a:lnTo>
                    <a:lnTo>
                      <a:pt x="770" y="500"/>
                    </a:lnTo>
                    <a:lnTo>
                      <a:pt x="770" y="498"/>
                    </a:lnTo>
                    <a:lnTo>
                      <a:pt x="772" y="496"/>
                    </a:lnTo>
                    <a:lnTo>
                      <a:pt x="777" y="493"/>
                    </a:lnTo>
                    <a:lnTo>
                      <a:pt x="780" y="493"/>
                    </a:lnTo>
                    <a:lnTo>
                      <a:pt x="780" y="491"/>
                    </a:lnTo>
                    <a:lnTo>
                      <a:pt x="785" y="491"/>
                    </a:lnTo>
                    <a:lnTo>
                      <a:pt x="780" y="491"/>
                    </a:lnTo>
                    <a:lnTo>
                      <a:pt x="779" y="488"/>
                    </a:lnTo>
                    <a:lnTo>
                      <a:pt x="775" y="481"/>
                    </a:lnTo>
                    <a:lnTo>
                      <a:pt x="775" y="478"/>
                    </a:lnTo>
                    <a:lnTo>
                      <a:pt x="772" y="473"/>
                    </a:lnTo>
                    <a:lnTo>
                      <a:pt x="770" y="472"/>
                    </a:lnTo>
                    <a:lnTo>
                      <a:pt x="767" y="467"/>
                    </a:lnTo>
                    <a:lnTo>
                      <a:pt x="767" y="462"/>
                    </a:lnTo>
                    <a:lnTo>
                      <a:pt x="769" y="458"/>
                    </a:lnTo>
                    <a:lnTo>
                      <a:pt x="764" y="455"/>
                    </a:lnTo>
                    <a:lnTo>
                      <a:pt x="762" y="449"/>
                    </a:lnTo>
                    <a:close/>
                    <a:moveTo>
                      <a:pt x="552" y="31"/>
                    </a:moveTo>
                    <a:lnTo>
                      <a:pt x="550" y="31"/>
                    </a:lnTo>
                    <a:lnTo>
                      <a:pt x="552" y="31"/>
                    </a:lnTo>
                    <a:close/>
                    <a:moveTo>
                      <a:pt x="652" y="77"/>
                    </a:moveTo>
                    <a:lnTo>
                      <a:pt x="650" y="79"/>
                    </a:lnTo>
                    <a:lnTo>
                      <a:pt x="649" y="75"/>
                    </a:lnTo>
                    <a:lnTo>
                      <a:pt x="647" y="77"/>
                    </a:lnTo>
                    <a:lnTo>
                      <a:pt x="645" y="75"/>
                    </a:lnTo>
                    <a:lnTo>
                      <a:pt x="639" y="79"/>
                    </a:lnTo>
                    <a:lnTo>
                      <a:pt x="627" y="77"/>
                    </a:lnTo>
                    <a:lnTo>
                      <a:pt x="627" y="80"/>
                    </a:lnTo>
                    <a:lnTo>
                      <a:pt x="631" y="82"/>
                    </a:lnTo>
                    <a:lnTo>
                      <a:pt x="636" y="79"/>
                    </a:lnTo>
                    <a:lnTo>
                      <a:pt x="642" y="80"/>
                    </a:lnTo>
                    <a:lnTo>
                      <a:pt x="644" y="87"/>
                    </a:lnTo>
                    <a:lnTo>
                      <a:pt x="654" y="88"/>
                    </a:lnTo>
                    <a:lnTo>
                      <a:pt x="652" y="77"/>
                    </a:lnTo>
                    <a:close/>
                    <a:moveTo>
                      <a:pt x="650" y="97"/>
                    </a:moveTo>
                    <a:lnTo>
                      <a:pt x="647" y="95"/>
                    </a:lnTo>
                    <a:lnTo>
                      <a:pt x="649" y="98"/>
                    </a:lnTo>
                    <a:lnTo>
                      <a:pt x="649" y="102"/>
                    </a:lnTo>
                    <a:lnTo>
                      <a:pt x="650" y="102"/>
                    </a:lnTo>
                    <a:lnTo>
                      <a:pt x="650" y="97"/>
                    </a:lnTo>
                    <a:close/>
                    <a:moveTo>
                      <a:pt x="711" y="102"/>
                    </a:moveTo>
                    <a:lnTo>
                      <a:pt x="713" y="102"/>
                    </a:lnTo>
                    <a:lnTo>
                      <a:pt x="711" y="102"/>
                    </a:lnTo>
                    <a:close/>
                    <a:moveTo>
                      <a:pt x="711" y="103"/>
                    </a:moveTo>
                    <a:lnTo>
                      <a:pt x="713" y="103"/>
                    </a:lnTo>
                    <a:lnTo>
                      <a:pt x="711" y="103"/>
                    </a:lnTo>
                    <a:close/>
                    <a:moveTo>
                      <a:pt x="705" y="105"/>
                    </a:moveTo>
                    <a:lnTo>
                      <a:pt x="706" y="105"/>
                    </a:lnTo>
                    <a:lnTo>
                      <a:pt x="706" y="107"/>
                    </a:lnTo>
                    <a:lnTo>
                      <a:pt x="705" y="107"/>
                    </a:lnTo>
                    <a:lnTo>
                      <a:pt x="705" y="105"/>
                    </a:lnTo>
                    <a:close/>
                    <a:moveTo>
                      <a:pt x="708" y="107"/>
                    </a:moveTo>
                    <a:lnTo>
                      <a:pt x="710" y="107"/>
                    </a:lnTo>
                    <a:lnTo>
                      <a:pt x="708" y="107"/>
                    </a:lnTo>
                    <a:close/>
                    <a:moveTo>
                      <a:pt x="706" y="107"/>
                    </a:moveTo>
                    <a:lnTo>
                      <a:pt x="706" y="108"/>
                    </a:lnTo>
                    <a:lnTo>
                      <a:pt x="706" y="107"/>
                    </a:lnTo>
                    <a:close/>
                    <a:moveTo>
                      <a:pt x="706" y="108"/>
                    </a:moveTo>
                    <a:lnTo>
                      <a:pt x="708" y="110"/>
                    </a:lnTo>
                    <a:lnTo>
                      <a:pt x="710" y="110"/>
                    </a:lnTo>
                    <a:lnTo>
                      <a:pt x="706" y="108"/>
                    </a:lnTo>
                    <a:close/>
                    <a:moveTo>
                      <a:pt x="706" y="110"/>
                    </a:moveTo>
                    <a:lnTo>
                      <a:pt x="708" y="110"/>
                    </a:lnTo>
                    <a:lnTo>
                      <a:pt x="708" y="113"/>
                    </a:lnTo>
                    <a:lnTo>
                      <a:pt x="706" y="113"/>
                    </a:lnTo>
                    <a:lnTo>
                      <a:pt x="706" y="110"/>
                    </a:lnTo>
                    <a:close/>
                    <a:moveTo>
                      <a:pt x="690" y="112"/>
                    </a:moveTo>
                    <a:lnTo>
                      <a:pt x="690" y="113"/>
                    </a:lnTo>
                    <a:lnTo>
                      <a:pt x="690" y="112"/>
                    </a:lnTo>
                    <a:close/>
                    <a:moveTo>
                      <a:pt x="696" y="120"/>
                    </a:moveTo>
                    <a:lnTo>
                      <a:pt x="695" y="120"/>
                    </a:lnTo>
                    <a:lnTo>
                      <a:pt x="698" y="121"/>
                    </a:lnTo>
                    <a:lnTo>
                      <a:pt x="696" y="120"/>
                    </a:lnTo>
                    <a:close/>
                    <a:moveTo>
                      <a:pt x="698" y="120"/>
                    </a:moveTo>
                    <a:lnTo>
                      <a:pt x="700" y="120"/>
                    </a:lnTo>
                    <a:lnTo>
                      <a:pt x="698" y="120"/>
                    </a:lnTo>
                    <a:close/>
                    <a:moveTo>
                      <a:pt x="700" y="120"/>
                    </a:moveTo>
                    <a:lnTo>
                      <a:pt x="701" y="120"/>
                    </a:lnTo>
                    <a:lnTo>
                      <a:pt x="701" y="121"/>
                    </a:lnTo>
                    <a:lnTo>
                      <a:pt x="700" y="121"/>
                    </a:lnTo>
                    <a:lnTo>
                      <a:pt x="700" y="120"/>
                    </a:lnTo>
                    <a:close/>
                    <a:moveTo>
                      <a:pt x="737" y="294"/>
                    </a:moveTo>
                    <a:lnTo>
                      <a:pt x="737" y="296"/>
                    </a:lnTo>
                    <a:lnTo>
                      <a:pt x="737" y="294"/>
                    </a:lnTo>
                    <a:close/>
                    <a:moveTo>
                      <a:pt x="210" y="516"/>
                    </a:moveTo>
                    <a:lnTo>
                      <a:pt x="210" y="518"/>
                    </a:lnTo>
                    <a:lnTo>
                      <a:pt x="210" y="516"/>
                    </a:lnTo>
                    <a:close/>
                    <a:moveTo>
                      <a:pt x="223" y="541"/>
                    </a:moveTo>
                    <a:lnTo>
                      <a:pt x="225" y="541"/>
                    </a:lnTo>
                    <a:lnTo>
                      <a:pt x="225" y="542"/>
                    </a:lnTo>
                    <a:lnTo>
                      <a:pt x="223" y="542"/>
                    </a:lnTo>
                    <a:lnTo>
                      <a:pt x="223" y="541"/>
                    </a:lnTo>
                    <a:close/>
                    <a:moveTo>
                      <a:pt x="123" y="574"/>
                    </a:moveTo>
                    <a:lnTo>
                      <a:pt x="125" y="574"/>
                    </a:lnTo>
                    <a:lnTo>
                      <a:pt x="125" y="575"/>
                    </a:lnTo>
                    <a:lnTo>
                      <a:pt x="123" y="575"/>
                    </a:lnTo>
                    <a:lnTo>
                      <a:pt x="123" y="574"/>
                    </a:lnTo>
                    <a:close/>
                    <a:moveTo>
                      <a:pt x="874" y="723"/>
                    </a:moveTo>
                    <a:lnTo>
                      <a:pt x="874" y="725"/>
                    </a:lnTo>
                    <a:lnTo>
                      <a:pt x="874" y="723"/>
                    </a:lnTo>
                    <a:close/>
                    <a:moveTo>
                      <a:pt x="848" y="728"/>
                    </a:moveTo>
                    <a:lnTo>
                      <a:pt x="848" y="730"/>
                    </a:lnTo>
                    <a:lnTo>
                      <a:pt x="848" y="728"/>
                    </a:lnTo>
                    <a:close/>
                    <a:moveTo>
                      <a:pt x="143" y="948"/>
                    </a:moveTo>
                    <a:lnTo>
                      <a:pt x="143" y="950"/>
                    </a:lnTo>
                    <a:lnTo>
                      <a:pt x="143" y="948"/>
                    </a:lnTo>
                    <a:close/>
                    <a:moveTo>
                      <a:pt x="225" y="1026"/>
                    </a:moveTo>
                    <a:lnTo>
                      <a:pt x="235" y="1019"/>
                    </a:lnTo>
                    <a:lnTo>
                      <a:pt x="233" y="1017"/>
                    </a:lnTo>
                    <a:lnTo>
                      <a:pt x="228" y="1017"/>
                    </a:lnTo>
                    <a:lnTo>
                      <a:pt x="227" y="1016"/>
                    </a:lnTo>
                    <a:lnTo>
                      <a:pt x="225" y="1014"/>
                    </a:lnTo>
                    <a:lnTo>
                      <a:pt x="225" y="1016"/>
                    </a:lnTo>
                    <a:lnTo>
                      <a:pt x="227" y="1017"/>
                    </a:lnTo>
                    <a:lnTo>
                      <a:pt x="223" y="1016"/>
                    </a:lnTo>
                    <a:lnTo>
                      <a:pt x="222" y="1021"/>
                    </a:lnTo>
                    <a:lnTo>
                      <a:pt x="225" y="1022"/>
                    </a:lnTo>
                    <a:lnTo>
                      <a:pt x="222" y="1022"/>
                    </a:lnTo>
                    <a:lnTo>
                      <a:pt x="218" y="1026"/>
                    </a:lnTo>
                    <a:lnTo>
                      <a:pt x="220" y="1027"/>
                    </a:lnTo>
                    <a:lnTo>
                      <a:pt x="225" y="1026"/>
                    </a:lnTo>
                    <a:close/>
                    <a:moveTo>
                      <a:pt x="164" y="1078"/>
                    </a:moveTo>
                    <a:lnTo>
                      <a:pt x="164" y="1073"/>
                    </a:lnTo>
                    <a:lnTo>
                      <a:pt x="164" y="1077"/>
                    </a:lnTo>
                    <a:lnTo>
                      <a:pt x="162" y="1073"/>
                    </a:lnTo>
                    <a:lnTo>
                      <a:pt x="156" y="1077"/>
                    </a:lnTo>
                    <a:lnTo>
                      <a:pt x="153" y="1075"/>
                    </a:lnTo>
                    <a:lnTo>
                      <a:pt x="151" y="1067"/>
                    </a:lnTo>
                    <a:lnTo>
                      <a:pt x="146" y="1065"/>
                    </a:lnTo>
                    <a:lnTo>
                      <a:pt x="144" y="1059"/>
                    </a:lnTo>
                    <a:lnTo>
                      <a:pt x="148" y="1057"/>
                    </a:lnTo>
                    <a:lnTo>
                      <a:pt x="143" y="1055"/>
                    </a:lnTo>
                    <a:lnTo>
                      <a:pt x="144" y="1054"/>
                    </a:lnTo>
                    <a:lnTo>
                      <a:pt x="141" y="1054"/>
                    </a:lnTo>
                    <a:lnTo>
                      <a:pt x="138" y="1050"/>
                    </a:lnTo>
                    <a:lnTo>
                      <a:pt x="139" y="1047"/>
                    </a:lnTo>
                    <a:lnTo>
                      <a:pt x="138" y="1047"/>
                    </a:lnTo>
                    <a:lnTo>
                      <a:pt x="138" y="1049"/>
                    </a:lnTo>
                    <a:lnTo>
                      <a:pt x="136" y="1049"/>
                    </a:lnTo>
                    <a:lnTo>
                      <a:pt x="138" y="1047"/>
                    </a:lnTo>
                    <a:lnTo>
                      <a:pt x="136" y="1047"/>
                    </a:lnTo>
                    <a:lnTo>
                      <a:pt x="139" y="1047"/>
                    </a:lnTo>
                    <a:lnTo>
                      <a:pt x="138" y="1042"/>
                    </a:lnTo>
                    <a:lnTo>
                      <a:pt x="138" y="1039"/>
                    </a:lnTo>
                    <a:lnTo>
                      <a:pt x="136" y="1031"/>
                    </a:lnTo>
                    <a:lnTo>
                      <a:pt x="135" y="1027"/>
                    </a:lnTo>
                    <a:lnTo>
                      <a:pt x="133" y="1027"/>
                    </a:lnTo>
                    <a:lnTo>
                      <a:pt x="135" y="1026"/>
                    </a:lnTo>
                    <a:lnTo>
                      <a:pt x="133" y="1026"/>
                    </a:lnTo>
                    <a:lnTo>
                      <a:pt x="135" y="1026"/>
                    </a:lnTo>
                    <a:lnTo>
                      <a:pt x="133" y="1024"/>
                    </a:lnTo>
                    <a:lnTo>
                      <a:pt x="133" y="1026"/>
                    </a:lnTo>
                    <a:lnTo>
                      <a:pt x="133" y="1024"/>
                    </a:lnTo>
                    <a:lnTo>
                      <a:pt x="133" y="1022"/>
                    </a:lnTo>
                    <a:lnTo>
                      <a:pt x="131" y="1022"/>
                    </a:lnTo>
                    <a:lnTo>
                      <a:pt x="131" y="1021"/>
                    </a:lnTo>
                    <a:lnTo>
                      <a:pt x="131" y="1017"/>
                    </a:lnTo>
                    <a:lnTo>
                      <a:pt x="136" y="1016"/>
                    </a:lnTo>
                    <a:lnTo>
                      <a:pt x="136" y="1014"/>
                    </a:lnTo>
                    <a:lnTo>
                      <a:pt x="130" y="1017"/>
                    </a:lnTo>
                    <a:lnTo>
                      <a:pt x="128" y="1021"/>
                    </a:lnTo>
                    <a:lnTo>
                      <a:pt x="130" y="1032"/>
                    </a:lnTo>
                    <a:lnTo>
                      <a:pt x="130" y="1041"/>
                    </a:lnTo>
                    <a:lnTo>
                      <a:pt x="131" y="1044"/>
                    </a:lnTo>
                    <a:lnTo>
                      <a:pt x="151" y="1077"/>
                    </a:lnTo>
                    <a:lnTo>
                      <a:pt x="156" y="1080"/>
                    </a:lnTo>
                    <a:lnTo>
                      <a:pt x="164" y="1078"/>
                    </a:lnTo>
                    <a:close/>
                    <a:moveTo>
                      <a:pt x="162" y="1067"/>
                    </a:moveTo>
                    <a:lnTo>
                      <a:pt x="164" y="1067"/>
                    </a:lnTo>
                    <a:lnTo>
                      <a:pt x="164" y="1068"/>
                    </a:lnTo>
                    <a:lnTo>
                      <a:pt x="162" y="1068"/>
                    </a:lnTo>
                    <a:lnTo>
                      <a:pt x="162" y="1067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 15">
                <a:extLst>
                  <a:ext uri="{FF2B5EF4-FFF2-40B4-BE49-F238E27FC236}">
                    <a16:creationId xmlns:a16="http://schemas.microsoft.com/office/drawing/2014/main" id="{7FC733D7-EF2B-404C-926A-7001FD4516E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254374" y="2339975"/>
                <a:ext cx="798513" cy="1216025"/>
              </a:xfrm>
              <a:custGeom>
                <a:avLst/>
                <a:gdLst>
                  <a:gd name="T0" fmla="*/ 119 w 503"/>
                  <a:gd name="T1" fmla="*/ 151 h 766"/>
                  <a:gd name="T2" fmla="*/ 9 w 503"/>
                  <a:gd name="T3" fmla="*/ 516 h 766"/>
                  <a:gd name="T4" fmla="*/ 202 w 503"/>
                  <a:gd name="T5" fmla="*/ 514 h 766"/>
                  <a:gd name="T6" fmla="*/ 178 w 503"/>
                  <a:gd name="T7" fmla="*/ 532 h 766"/>
                  <a:gd name="T8" fmla="*/ 132 w 503"/>
                  <a:gd name="T9" fmla="*/ 562 h 766"/>
                  <a:gd name="T10" fmla="*/ 73 w 503"/>
                  <a:gd name="T11" fmla="*/ 490 h 766"/>
                  <a:gd name="T12" fmla="*/ 12 w 503"/>
                  <a:gd name="T13" fmla="*/ 516 h 766"/>
                  <a:gd name="T14" fmla="*/ 45 w 503"/>
                  <a:gd name="T15" fmla="*/ 559 h 766"/>
                  <a:gd name="T16" fmla="*/ 51 w 503"/>
                  <a:gd name="T17" fmla="*/ 570 h 766"/>
                  <a:gd name="T18" fmla="*/ 51 w 503"/>
                  <a:gd name="T19" fmla="*/ 580 h 766"/>
                  <a:gd name="T20" fmla="*/ 48 w 503"/>
                  <a:gd name="T21" fmla="*/ 582 h 766"/>
                  <a:gd name="T22" fmla="*/ 102 w 503"/>
                  <a:gd name="T23" fmla="*/ 618 h 766"/>
                  <a:gd name="T24" fmla="*/ 84 w 503"/>
                  <a:gd name="T25" fmla="*/ 642 h 766"/>
                  <a:gd name="T26" fmla="*/ 115 w 503"/>
                  <a:gd name="T27" fmla="*/ 677 h 766"/>
                  <a:gd name="T28" fmla="*/ 129 w 503"/>
                  <a:gd name="T29" fmla="*/ 703 h 766"/>
                  <a:gd name="T30" fmla="*/ 163 w 503"/>
                  <a:gd name="T31" fmla="*/ 738 h 766"/>
                  <a:gd name="T32" fmla="*/ 222 w 503"/>
                  <a:gd name="T33" fmla="*/ 751 h 766"/>
                  <a:gd name="T34" fmla="*/ 263 w 503"/>
                  <a:gd name="T35" fmla="*/ 759 h 766"/>
                  <a:gd name="T36" fmla="*/ 306 w 503"/>
                  <a:gd name="T37" fmla="*/ 702 h 766"/>
                  <a:gd name="T38" fmla="*/ 354 w 503"/>
                  <a:gd name="T39" fmla="*/ 674 h 766"/>
                  <a:gd name="T40" fmla="*/ 406 w 503"/>
                  <a:gd name="T41" fmla="*/ 634 h 766"/>
                  <a:gd name="T42" fmla="*/ 429 w 503"/>
                  <a:gd name="T43" fmla="*/ 573 h 766"/>
                  <a:gd name="T44" fmla="*/ 424 w 503"/>
                  <a:gd name="T45" fmla="*/ 511 h 766"/>
                  <a:gd name="T46" fmla="*/ 487 w 503"/>
                  <a:gd name="T47" fmla="*/ 462 h 766"/>
                  <a:gd name="T48" fmla="*/ 464 w 503"/>
                  <a:gd name="T49" fmla="*/ 419 h 766"/>
                  <a:gd name="T50" fmla="*/ 413 w 503"/>
                  <a:gd name="T51" fmla="*/ 332 h 766"/>
                  <a:gd name="T52" fmla="*/ 385 w 503"/>
                  <a:gd name="T53" fmla="*/ 292 h 766"/>
                  <a:gd name="T54" fmla="*/ 391 w 503"/>
                  <a:gd name="T55" fmla="*/ 200 h 766"/>
                  <a:gd name="T56" fmla="*/ 359 w 503"/>
                  <a:gd name="T57" fmla="*/ 166 h 766"/>
                  <a:gd name="T58" fmla="*/ 311 w 503"/>
                  <a:gd name="T59" fmla="*/ 133 h 766"/>
                  <a:gd name="T60" fmla="*/ 247 w 503"/>
                  <a:gd name="T61" fmla="*/ 83 h 766"/>
                  <a:gd name="T62" fmla="*/ 265 w 503"/>
                  <a:gd name="T63" fmla="*/ 5 h 766"/>
                  <a:gd name="T64" fmla="*/ 173 w 503"/>
                  <a:gd name="T65" fmla="*/ 42 h 766"/>
                  <a:gd name="T66" fmla="*/ 140 w 503"/>
                  <a:gd name="T67" fmla="*/ 57 h 766"/>
                  <a:gd name="T68" fmla="*/ 140 w 503"/>
                  <a:gd name="T69" fmla="*/ 88 h 766"/>
                  <a:gd name="T70" fmla="*/ 110 w 503"/>
                  <a:gd name="T71" fmla="*/ 121 h 766"/>
                  <a:gd name="T72" fmla="*/ 120 w 503"/>
                  <a:gd name="T73" fmla="*/ 144 h 766"/>
                  <a:gd name="T74" fmla="*/ 127 w 503"/>
                  <a:gd name="T75" fmla="*/ 138 h 766"/>
                  <a:gd name="T76" fmla="*/ 135 w 503"/>
                  <a:gd name="T77" fmla="*/ 128 h 766"/>
                  <a:gd name="T78" fmla="*/ 152 w 503"/>
                  <a:gd name="T79" fmla="*/ 106 h 766"/>
                  <a:gd name="T80" fmla="*/ 138 w 503"/>
                  <a:gd name="T81" fmla="*/ 123 h 766"/>
                  <a:gd name="T82" fmla="*/ 127 w 503"/>
                  <a:gd name="T83" fmla="*/ 148 h 766"/>
                  <a:gd name="T84" fmla="*/ 124 w 503"/>
                  <a:gd name="T85" fmla="*/ 176 h 766"/>
                  <a:gd name="T86" fmla="*/ 109 w 503"/>
                  <a:gd name="T87" fmla="*/ 179 h 766"/>
                  <a:gd name="T88" fmla="*/ 84 w 503"/>
                  <a:gd name="T89" fmla="*/ 200 h 766"/>
                  <a:gd name="T90" fmla="*/ 110 w 503"/>
                  <a:gd name="T91" fmla="*/ 226 h 766"/>
                  <a:gd name="T92" fmla="*/ 89 w 503"/>
                  <a:gd name="T93" fmla="*/ 226 h 766"/>
                  <a:gd name="T94" fmla="*/ 66 w 503"/>
                  <a:gd name="T95" fmla="*/ 189 h 766"/>
                  <a:gd name="T96" fmla="*/ 61 w 503"/>
                  <a:gd name="T97" fmla="*/ 277 h 766"/>
                  <a:gd name="T98" fmla="*/ 109 w 503"/>
                  <a:gd name="T99" fmla="*/ 299 h 766"/>
                  <a:gd name="T100" fmla="*/ 99 w 503"/>
                  <a:gd name="T101" fmla="*/ 302 h 766"/>
                  <a:gd name="T102" fmla="*/ 115 w 503"/>
                  <a:gd name="T103" fmla="*/ 304 h 766"/>
                  <a:gd name="T104" fmla="*/ 150 w 503"/>
                  <a:gd name="T105" fmla="*/ 292 h 766"/>
                  <a:gd name="T106" fmla="*/ 143 w 503"/>
                  <a:gd name="T107" fmla="*/ 296 h 766"/>
                  <a:gd name="T108" fmla="*/ 138 w 503"/>
                  <a:gd name="T109" fmla="*/ 309 h 766"/>
                  <a:gd name="T110" fmla="*/ 138 w 503"/>
                  <a:gd name="T111" fmla="*/ 309 h 766"/>
                  <a:gd name="T112" fmla="*/ 112 w 503"/>
                  <a:gd name="T113" fmla="*/ 307 h 766"/>
                  <a:gd name="T114" fmla="*/ 104 w 503"/>
                  <a:gd name="T115" fmla="*/ 309 h 766"/>
                  <a:gd name="T116" fmla="*/ 96 w 503"/>
                  <a:gd name="T117" fmla="*/ 323 h 766"/>
                  <a:gd name="T118" fmla="*/ 48 w 503"/>
                  <a:gd name="T119" fmla="*/ 393 h 766"/>
                  <a:gd name="T120" fmla="*/ 79 w 503"/>
                  <a:gd name="T121" fmla="*/ 490 h 766"/>
                  <a:gd name="T122" fmla="*/ 155 w 503"/>
                  <a:gd name="T123" fmla="*/ 545 h 7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03" h="766">
                    <a:moveTo>
                      <a:pt x="140" y="59"/>
                    </a:moveTo>
                    <a:lnTo>
                      <a:pt x="140" y="60"/>
                    </a:lnTo>
                    <a:lnTo>
                      <a:pt x="140" y="59"/>
                    </a:lnTo>
                    <a:close/>
                    <a:moveTo>
                      <a:pt x="150" y="70"/>
                    </a:moveTo>
                    <a:lnTo>
                      <a:pt x="150" y="72"/>
                    </a:lnTo>
                    <a:lnTo>
                      <a:pt x="150" y="70"/>
                    </a:lnTo>
                    <a:close/>
                    <a:moveTo>
                      <a:pt x="153" y="106"/>
                    </a:moveTo>
                    <a:lnTo>
                      <a:pt x="153" y="108"/>
                    </a:lnTo>
                    <a:lnTo>
                      <a:pt x="153" y="106"/>
                    </a:lnTo>
                    <a:close/>
                    <a:moveTo>
                      <a:pt x="138" y="131"/>
                    </a:moveTo>
                    <a:lnTo>
                      <a:pt x="137" y="129"/>
                    </a:lnTo>
                    <a:lnTo>
                      <a:pt x="137" y="133"/>
                    </a:lnTo>
                    <a:lnTo>
                      <a:pt x="138" y="133"/>
                    </a:lnTo>
                    <a:lnTo>
                      <a:pt x="138" y="131"/>
                    </a:lnTo>
                    <a:close/>
                    <a:moveTo>
                      <a:pt x="119" y="151"/>
                    </a:moveTo>
                    <a:lnTo>
                      <a:pt x="117" y="149"/>
                    </a:lnTo>
                    <a:lnTo>
                      <a:pt x="115" y="151"/>
                    </a:lnTo>
                    <a:lnTo>
                      <a:pt x="119" y="151"/>
                    </a:lnTo>
                    <a:close/>
                    <a:moveTo>
                      <a:pt x="101" y="231"/>
                    </a:moveTo>
                    <a:lnTo>
                      <a:pt x="102" y="231"/>
                    </a:lnTo>
                    <a:lnTo>
                      <a:pt x="101" y="231"/>
                    </a:lnTo>
                    <a:lnTo>
                      <a:pt x="101" y="233"/>
                    </a:lnTo>
                    <a:lnTo>
                      <a:pt x="101" y="231"/>
                    </a:lnTo>
                    <a:close/>
                    <a:moveTo>
                      <a:pt x="0" y="509"/>
                    </a:moveTo>
                    <a:lnTo>
                      <a:pt x="2" y="509"/>
                    </a:lnTo>
                    <a:lnTo>
                      <a:pt x="2" y="511"/>
                    </a:lnTo>
                    <a:lnTo>
                      <a:pt x="0" y="511"/>
                    </a:lnTo>
                    <a:lnTo>
                      <a:pt x="0" y="509"/>
                    </a:lnTo>
                    <a:close/>
                    <a:moveTo>
                      <a:pt x="2" y="513"/>
                    </a:moveTo>
                    <a:lnTo>
                      <a:pt x="4" y="513"/>
                    </a:lnTo>
                    <a:lnTo>
                      <a:pt x="4" y="514"/>
                    </a:lnTo>
                    <a:lnTo>
                      <a:pt x="2" y="514"/>
                    </a:lnTo>
                    <a:lnTo>
                      <a:pt x="2" y="513"/>
                    </a:lnTo>
                    <a:close/>
                    <a:moveTo>
                      <a:pt x="9" y="516"/>
                    </a:moveTo>
                    <a:lnTo>
                      <a:pt x="9" y="518"/>
                    </a:lnTo>
                    <a:lnTo>
                      <a:pt x="9" y="516"/>
                    </a:lnTo>
                    <a:close/>
                    <a:moveTo>
                      <a:pt x="155" y="545"/>
                    </a:moveTo>
                    <a:lnTo>
                      <a:pt x="158" y="542"/>
                    </a:lnTo>
                    <a:lnTo>
                      <a:pt x="156" y="537"/>
                    </a:lnTo>
                    <a:lnTo>
                      <a:pt x="158" y="539"/>
                    </a:lnTo>
                    <a:lnTo>
                      <a:pt x="158" y="537"/>
                    </a:lnTo>
                    <a:lnTo>
                      <a:pt x="161" y="532"/>
                    </a:lnTo>
                    <a:lnTo>
                      <a:pt x="165" y="529"/>
                    </a:lnTo>
                    <a:lnTo>
                      <a:pt x="165" y="527"/>
                    </a:lnTo>
                    <a:lnTo>
                      <a:pt x="165" y="529"/>
                    </a:lnTo>
                    <a:lnTo>
                      <a:pt x="166" y="529"/>
                    </a:lnTo>
                    <a:lnTo>
                      <a:pt x="175" y="531"/>
                    </a:lnTo>
                    <a:lnTo>
                      <a:pt x="176" y="527"/>
                    </a:lnTo>
                    <a:lnTo>
                      <a:pt x="181" y="524"/>
                    </a:lnTo>
                    <a:lnTo>
                      <a:pt x="184" y="522"/>
                    </a:lnTo>
                    <a:lnTo>
                      <a:pt x="188" y="522"/>
                    </a:lnTo>
                    <a:lnTo>
                      <a:pt x="194" y="526"/>
                    </a:lnTo>
                    <a:lnTo>
                      <a:pt x="199" y="516"/>
                    </a:lnTo>
                    <a:lnTo>
                      <a:pt x="202" y="514"/>
                    </a:lnTo>
                    <a:lnTo>
                      <a:pt x="204" y="516"/>
                    </a:lnTo>
                    <a:lnTo>
                      <a:pt x="207" y="513"/>
                    </a:lnTo>
                    <a:lnTo>
                      <a:pt x="212" y="514"/>
                    </a:lnTo>
                    <a:lnTo>
                      <a:pt x="216" y="509"/>
                    </a:lnTo>
                    <a:lnTo>
                      <a:pt x="217" y="508"/>
                    </a:lnTo>
                    <a:lnTo>
                      <a:pt x="219" y="508"/>
                    </a:lnTo>
                    <a:lnTo>
                      <a:pt x="217" y="508"/>
                    </a:lnTo>
                    <a:lnTo>
                      <a:pt x="216" y="513"/>
                    </a:lnTo>
                    <a:lnTo>
                      <a:pt x="214" y="514"/>
                    </a:lnTo>
                    <a:lnTo>
                      <a:pt x="212" y="514"/>
                    </a:lnTo>
                    <a:lnTo>
                      <a:pt x="207" y="513"/>
                    </a:lnTo>
                    <a:lnTo>
                      <a:pt x="206" y="516"/>
                    </a:lnTo>
                    <a:lnTo>
                      <a:pt x="201" y="516"/>
                    </a:lnTo>
                    <a:lnTo>
                      <a:pt x="199" y="519"/>
                    </a:lnTo>
                    <a:lnTo>
                      <a:pt x="198" y="524"/>
                    </a:lnTo>
                    <a:lnTo>
                      <a:pt x="194" y="527"/>
                    </a:lnTo>
                    <a:lnTo>
                      <a:pt x="186" y="526"/>
                    </a:lnTo>
                    <a:lnTo>
                      <a:pt x="178" y="532"/>
                    </a:lnTo>
                    <a:lnTo>
                      <a:pt x="176" y="532"/>
                    </a:lnTo>
                    <a:lnTo>
                      <a:pt x="171" y="532"/>
                    </a:lnTo>
                    <a:lnTo>
                      <a:pt x="166" y="534"/>
                    </a:lnTo>
                    <a:lnTo>
                      <a:pt x="165" y="536"/>
                    </a:lnTo>
                    <a:lnTo>
                      <a:pt x="165" y="537"/>
                    </a:lnTo>
                    <a:lnTo>
                      <a:pt x="166" y="537"/>
                    </a:lnTo>
                    <a:lnTo>
                      <a:pt x="168" y="534"/>
                    </a:lnTo>
                    <a:lnTo>
                      <a:pt x="166" y="537"/>
                    </a:lnTo>
                    <a:lnTo>
                      <a:pt x="163" y="542"/>
                    </a:lnTo>
                    <a:lnTo>
                      <a:pt x="166" y="549"/>
                    </a:lnTo>
                    <a:lnTo>
                      <a:pt x="168" y="550"/>
                    </a:lnTo>
                    <a:lnTo>
                      <a:pt x="155" y="562"/>
                    </a:lnTo>
                    <a:lnTo>
                      <a:pt x="145" y="555"/>
                    </a:lnTo>
                    <a:lnTo>
                      <a:pt x="138" y="554"/>
                    </a:lnTo>
                    <a:lnTo>
                      <a:pt x="133" y="555"/>
                    </a:lnTo>
                    <a:lnTo>
                      <a:pt x="133" y="557"/>
                    </a:lnTo>
                    <a:lnTo>
                      <a:pt x="137" y="560"/>
                    </a:lnTo>
                    <a:lnTo>
                      <a:pt x="132" y="562"/>
                    </a:lnTo>
                    <a:lnTo>
                      <a:pt x="130" y="567"/>
                    </a:lnTo>
                    <a:lnTo>
                      <a:pt x="132" y="564"/>
                    </a:lnTo>
                    <a:lnTo>
                      <a:pt x="122" y="564"/>
                    </a:lnTo>
                    <a:lnTo>
                      <a:pt x="120" y="562"/>
                    </a:lnTo>
                    <a:lnTo>
                      <a:pt x="115" y="560"/>
                    </a:lnTo>
                    <a:lnTo>
                      <a:pt x="112" y="557"/>
                    </a:lnTo>
                    <a:lnTo>
                      <a:pt x="106" y="554"/>
                    </a:lnTo>
                    <a:lnTo>
                      <a:pt x="101" y="547"/>
                    </a:lnTo>
                    <a:lnTo>
                      <a:pt x="96" y="539"/>
                    </a:lnTo>
                    <a:lnTo>
                      <a:pt x="87" y="526"/>
                    </a:lnTo>
                    <a:lnTo>
                      <a:pt x="84" y="521"/>
                    </a:lnTo>
                    <a:lnTo>
                      <a:pt x="83" y="519"/>
                    </a:lnTo>
                    <a:lnTo>
                      <a:pt x="79" y="511"/>
                    </a:lnTo>
                    <a:lnTo>
                      <a:pt x="78" y="509"/>
                    </a:lnTo>
                    <a:lnTo>
                      <a:pt x="78" y="504"/>
                    </a:lnTo>
                    <a:lnTo>
                      <a:pt x="76" y="499"/>
                    </a:lnTo>
                    <a:lnTo>
                      <a:pt x="74" y="493"/>
                    </a:lnTo>
                    <a:lnTo>
                      <a:pt x="73" y="490"/>
                    </a:lnTo>
                    <a:lnTo>
                      <a:pt x="73" y="488"/>
                    </a:lnTo>
                    <a:lnTo>
                      <a:pt x="69" y="485"/>
                    </a:lnTo>
                    <a:lnTo>
                      <a:pt x="69" y="483"/>
                    </a:lnTo>
                    <a:lnTo>
                      <a:pt x="68" y="480"/>
                    </a:lnTo>
                    <a:lnTo>
                      <a:pt x="68" y="478"/>
                    </a:lnTo>
                    <a:lnTo>
                      <a:pt x="68" y="476"/>
                    </a:lnTo>
                    <a:lnTo>
                      <a:pt x="66" y="475"/>
                    </a:lnTo>
                    <a:lnTo>
                      <a:pt x="63" y="476"/>
                    </a:lnTo>
                    <a:lnTo>
                      <a:pt x="61" y="476"/>
                    </a:lnTo>
                    <a:lnTo>
                      <a:pt x="51" y="481"/>
                    </a:lnTo>
                    <a:lnTo>
                      <a:pt x="50" y="483"/>
                    </a:lnTo>
                    <a:lnTo>
                      <a:pt x="46" y="486"/>
                    </a:lnTo>
                    <a:lnTo>
                      <a:pt x="38" y="490"/>
                    </a:lnTo>
                    <a:lnTo>
                      <a:pt x="28" y="494"/>
                    </a:lnTo>
                    <a:lnTo>
                      <a:pt x="18" y="499"/>
                    </a:lnTo>
                    <a:lnTo>
                      <a:pt x="10" y="508"/>
                    </a:lnTo>
                    <a:lnTo>
                      <a:pt x="10" y="509"/>
                    </a:lnTo>
                    <a:lnTo>
                      <a:pt x="12" y="516"/>
                    </a:lnTo>
                    <a:lnTo>
                      <a:pt x="14" y="519"/>
                    </a:lnTo>
                    <a:lnTo>
                      <a:pt x="18" y="522"/>
                    </a:lnTo>
                    <a:lnTo>
                      <a:pt x="23" y="531"/>
                    </a:lnTo>
                    <a:lnTo>
                      <a:pt x="32" y="539"/>
                    </a:lnTo>
                    <a:lnTo>
                      <a:pt x="38" y="545"/>
                    </a:lnTo>
                    <a:lnTo>
                      <a:pt x="43" y="550"/>
                    </a:lnTo>
                    <a:lnTo>
                      <a:pt x="46" y="555"/>
                    </a:lnTo>
                    <a:lnTo>
                      <a:pt x="51" y="560"/>
                    </a:lnTo>
                    <a:lnTo>
                      <a:pt x="46" y="555"/>
                    </a:lnTo>
                    <a:lnTo>
                      <a:pt x="43" y="550"/>
                    </a:lnTo>
                    <a:lnTo>
                      <a:pt x="38" y="545"/>
                    </a:lnTo>
                    <a:lnTo>
                      <a:pt x="37" y="547"/>
                    </a:lnTo>
                    <a:lnTo>
                      <a:pt x="38" y="552"/>
                    </a:lnTo>
                    <a:lnTo>
                      <a:pt x="40" y="555"/>
                    </a:lnTo>
                    <a:lnTo>
                      <a:pt x="43" y="557"/>
                    </a:lnTo>
                    <a:lnTo>
                      <a:pt x="40" y="557"/>
                    </a:lnTo>
                    <a:lnTo>
                      <a:pt x="41" y="560"/>
                    </a:lnTo>
                    <a:lnTo>
                      <a:pt x="45" y="559"/>
                    </a:lnTo>
                    <a:lnTo>
                      <a:pt x="43" y="562"/>
                    </a:lnTo>
                    <a:lnTo>
                      <a:pt x="46" y="560"/>
                    </a:lnTo>
                    <a:lnTo>
                      <a:pt x="45" y="562"/>
                    </a:lnTo>
                    <a:lnTo>
                      <a:pt x="46" y="562"/>
                    </a:lnTo>
                    <a:lnTo>
                      <a:pt x="43" y="562"/>
                    </a:lnTo>
                    <a:lnTo>
                      <a:pt x="43" y="564"/>
                    </a:lnTo>
                    <a:lnTo>
                      <a:pt x="45" y="564"/>
                    </a:lnTo>
                    <a:lnTo>
                      <a:pt x="43" y="564"/>
                    </a:lnTo>
                    <a:lnTo>
                      <a:pt x="45" y="564"/>
                    </a:lnTo>
                    <a:lnTo>
                      <a:pt x="43" y="565"/>
                    </a:lnTo>
                    <a:lnTo>
                      <a:pt x="45" y="567"/>
                    </a:lnTo>
                    <a:lnTo>
                      <a:pt x="46" y="565"/>
                    </a:lnTo>
                    <a:lnTo>
                      <a:pt x="46" y="567"/>
                    </a:lnTo>
                    <a:lnTo>
                      <a:pt x="48" y="565"/>
                    </a:lnTo>
                    <a:lnTo>
                      <a:pt x="46" y="568"/>
                    </a:lnTo>
                    <a:lnTo>
                      <a:pt x="51" y="565"/>
                    </a:lnTo>
                    <a:lnTo>
                      <a:pt x="48" y="568"/>
                    </a:lnTo>
                    <a:lnTo>
                      <a:pt x="51" y="570"/>
                    </a:lnTo>
                    <a:lnTo>
                      <a:pt x="53" y="570"/>
                    </a:lnTo>
                    <a:lnTo>
                      <a:pt x="55" y="573"/>
                    </a:lnTo>
                    <a:lnTo>
                      <a:pt x="58" y="575"/>
                    </a:lnTo>
                    <a:lnTo>
                      <a:pt x="55" y="573"/>
                    </a:lnTo>
                    <a:lnTo>
                      <a:pt x="53" y="572"/>
                    </a:lnTo>
                    <a:lnTo>
                      <a:pt x="53" y="573"/>
                    </a:lnTo>
                    <a:lnTo>
                      <a:pt x="53" y="572"/>
                    </a:lnTo>
                    <a:lnTo>
                      <a:pt x="48" y="572"/>
                    </a:lnTo>
                    <a:lnTo>
                      <a:pt x="51" y="573"/>
                    </a:lnTo>
                    <a:lnTo>
                      <a:pt x="48" y="573"/>
                    </a:lnTo>
                    <a:lnTo>
                      <a:pt x="50" y="575"/>
                    </a:lnTo>
                    <a:lnTo>
                      <a:pt x="53" y="577"/>
                    </a:lnTo>
                    <a:lnTo>
                      <a:pt x="51" y="577"/>
                    </a:lnTo>
                    <a:lnTo>
                      <a:pt x="51" y="575"/>
                    </a:lnTo>
                    <a:lnTo>
                      <a:pt x="51" y="578"/>
                    </a:lnTo>
                    <a:lnTo>
                      <a:pt x="50" y="575"/>
                    </a:lnTo>
                    <a:lnTo>
                      <a:pt x="50" y="578"/>
                    </a:lnTo>
                    <a:lnTo>
                      <a:pt x="51" y="580"/>
                    </a:lnTo>
                    <a:lnTo>
                      <a:pt x="50" y="578"/>
                    </a:lnTo>
                    <a:lnTo>
                      <a:pt x="48" y="578"/>
                    </a:lnTo>
                    <a:lnTo>
                      <a:pt x="48" y="580"/>
                    </a:lnTo>
                    <a:lnTo>
                      <a:pt x="51" y="582"/>
                    </a:lnTo>
                    <a:lnTo>
                      <a:pt x="48" y="580"/>
                    </a:lnTo>
                    <a:lnTo>
                      <a:pt x="48" y="577"/>
                    </a:lnTo>
                    <a:lnTo>
                      <a:pt x="46" y="575"/>
                    </a:lnTo>
                    <a:lnTo>
                      <a:pt x="45" y="578"/>
                    </a:lnTo>
                    <a:lnTo>
                      <a:pt x="46" y="580"/>
                    </a:lnTo>
                    <a:lnTo>
                      <a:pt x="46" y="582"/>
                    </a:lnTo>
                    <a:lnTo>
                      <a:pt x="48" y="580"/>
                    </a:lnTo>
                    <a:lnTo>
                      <a:pt x="48" y="582"/>
                    </a:lnTo>
                    <a:lnTo>
                      <a:pt x="46" y="582"/>
                    </a:lnTo>
                    <a:lnTo>
                      <a:pt x="48" y="582"/>
                    </a:lnTo>
                    <a:lnTo>
                      <a:pt x="50" y="580"/>
                    </a:lnTo>
                    <a:lnTo>
                      <a:pt x="51" y="582"/>
                    </a:lnTo>
                    <a:lnTo>
                      <a:pt x="50" y="580"/>
                    </a:lnTo>
                    <a:lnTo>
                      <a:pt x="48" y="582"/>
                    </a:lnTo>
                    <a:lnTo>
                      <a:pt x="50" y="582"/>
                    </a:lnTo>
                    <a:lnTo>
                      <a:pt x="48" y="582"/>
                    </a:lnTo>
                    <a:lnTo>
                      <a:pt x="50" y="583"/>
                    </a:lnTo>
                    <a:lnTo>
                      <a:pt x="51" y="585"/>
                    </a:lnTo>
                    <a:lnTo>
                      <a:pt x="55" y="587"/>
                    </a:lnTo>
                    <a:lnTo>
                      <a:pt x="56" y="583"/>
                    </a:lnTo>
                    <a:lnTo>
                      <a:pt x="55" y="587"/>
                    </a:lnTo>
                    <a:lnTo>
                      <a:pt x="60" y="587"/>
                    </a:lnTo>
                    <a:lnTo>
                      <a:pt x="63" y="587"/>
                    </a:lnTo>
                    <a:lnTo>
                      <a:pt x="68" y="587"/>
                    </a:lnTo>
                    <a:lnTo>
                      <a:pt x="71" y="588"/>
                    </a:lnTo>
                    <a:lnTo>
                      <a:pt x="74" y="592"/>
                    </a:lnTo>
                    <a:lnTo>
                      <a:pt x="89" y="605"/>
                    </a:lnTo>
                    <a:lnTo>
                      <a:pt x="96" y="610"/>
                    </a:lnTo>
                    <a:lnTo>
                      <a:pt x="101" y="615"/>
                    </a:lnTo>
                    <a:lnTo>
                      <a:pt x="101" y="616"/>
                    </a:lnTo>
                    <a:lnTo>
                      <a:pt x="101" y="618"/>
                    </a:lnTo>
                    <a:lnTo>
                      <a:pt x="102" y="618"/>
                    </a:lnTo>
                    <a:lnTo>
                      <a:pt x="104" y="619"/>
                    </a:lnTo>
                    <a:lnTo>
                      <a:pt x="107" y="624"/>
                    </a:lnTo>
                    <a:lnTo>
                      <a:pt x="109" y="628"/>
                    </a:lnTo>
                    <a:lnTo>
                      <a:pt x="114" y="621"/>
                    </a:lnTo>
                    <a:lnTo>
                      <a:pt x="115" y="621"/>
                    </a:lnTo>
                    <a:lnTo>
                      <a:pt x="114" y="624"/>
                    </a:lnTo>
                    <a:lnTo>
                      <a:pt x="115" y="628"/>
                    </a:lnTo>
                    <a:lnTo>
                      <a:pt x="114" y="626"/>
                    </a:lnTo>
                    <a:lnTo>
                      <a:pt x="114" y="624"/>
                    </a:lnTo>
                    <a:lnTo>
                      <a:pt x="114" y="621"/>
                    </a:lnTo>
                    <a:lnTo>
                      <a:pt x="110" y="624"/>
                    </a:lnTo>
                    <a:lnTo>
                      <a:pt x="109" y="628"/>
                    </a:lnTo>
                    <a:lnTo>
                      <a:pt x="109" y="629"/>
                    </a:lnTo>
                    <a:lnTo>
                      <a:pt x="106" y="634"/>
                    </a:lnTo>
                    <a:lnTo>
                      <a:pt x="102" y="638"/>
                    </a:lnTo>
                    <a:lnTo>
                      <a:pt x="91" y="641"/>
                    </a:lnTo>
                    <a:lnTo>
                      <a:pt x="87" y="642"/>
                    </a:lnTo>
                    <a:lnTo>
                      <a:pt x="84" y="642"/>
                    </a:lnTo>
                    <a:lnTo>
                      <a:pt x="83" y="644"/>
                    </a:lnTo>
                    <a:lnTo>
                      <a:pt x="86" y="647"/>
                    </a:lnTo>
                    <a:lnTo>
                      <a:pt x="87" y="646"/>
                    </a:lnTo>
                    <a:lnTo>
                      <a:pt x="92" y="657"/>
                    </a:lnTo>
                    <a:lnTo>
                      <a:pt x="99" y="661"/>
                    </a:lnTo>
                    <a:lnTo>
                      <a:pt x="101" y="664"/>
                    </a:lnTo>
                    <a:lnTo>
                      <a:pt x="109" y="665"/>
                    </a:lnTo>
                    <a:lnTo>
                      <a:pt x="109" y="667"/>
                    </a:lnTo>
                    <a:lnTo>
                      <a:pt x="114" y="669"/>
                    </a:lnTo>
                    <a:lnTo>
                      <a:pt x="122" y="664"/>
                    </a:lnTo>
                    <a:lnTo>
                      <a:pt x="122" y="669"/>
                    </a:lnTo>
                    <a:lnTo>
                      <a:pt x="119" y="670"/>
                    </a:lnTo>
                    <a:lnTo>
                      <a:pt x="119" y="672"/>
                    </a:lnTo>
                    <a:lnTo>
                      <a:pt x="120" y="674"/>
                    </a:lnTo>
                    <a:lnTo>
                      <a:pt x="119" y="679"/>
                    </a:lnTo>
                    <a:lnTo>
                      <a:pt x="117" y="679"/>
                    </a:lnTo>
                    <a:lnTo>
                      <a:pt x="117" y="677"/>
                    </a:lnTo>
                    <a:lnTo>
                      <a:pt x="115" y="677"/>
                    </a:lnTo>
                    <a:lnTo>
                      <a:pt x="115" y="682"/>
                    </a:lnTo>
                    <a:lnTo>
                      <a:pt x="119" y="682"/>
                    </a:lnTo>
                    <a:lnTo>
                      <a:pt x="119" y="684"/>
                    </a:lnTo>
                    <a:lnTo>
                      <a:pt x="124" y="687"/>
                    </a:lnTo>
                    <a:lnTo>
                      <a:pt x="122" y="690"/>
                    </a:lnTo>
                    <a:lnTo>
                      <a:pt x="124" y="692"/>
                    </a:lnTo>
                    <a:lnTo>
                      <a:pt x="124" y="693"/>
                    </a:lnTo>
                    <a:lnTo>
                      <a:pt x="127" y="693"/>
                    </a:lnTo>
                    <a:lnTo>
                      <a:pt x="127" y="695"/>
                    </a:lnTo>
                    <a:lnTo>
                      <a:pt x="125" y="697"/>
                    </a:lnTo>
                    <a:lnTo>
                      <a:pt x="129" y="700"/>
                    </a:lnTo>
                    <a:lnTo>
                      <a:pt x="125" y="700"/>
                    </a:lnTo>
                    <a:lnTo>
                      <a:pt x="129" y="700"/>
                    </a:lnTo>
                    <a:lnTo>
                      <a:pt x="127" y="702"/>
                    </a:lnTo>
                    <a:lnTo>
                      <a:pt x="130" y="703"/>
                    </a:lnTo>
                    <a:lnTo>
                      <a:pt x="127" y="703"/>
                    </a:lnTo>
                    <a:lnTo>
                      <a:pt x="127" y="705"/>
                    </a:lnTo>
                    <a:lnTo>
                      <a:pt x="129" y="703"/>
                    </a:lnTo>
                    <a:lnTo>
                      <a:pt x="129" y="707"/>
                    </a:lnTo>
                    <a:lnTo>
                      <a:pt x="125" y="708"/>
                    </a:lnTo>
                    <a:lnTo>
                      <a:pt x="129" y="708"/>
                    </a:lnTo>
                    <a:lnTo>
                      <a:pt x="127" y="712"/>
                    </a:lnTo>
                    <a:lnTo>
                      <a:pt x="129" y="712"/>
                    </a:lnTo>
                    <a:lnTo>
                      <a:pt x="132" y="715"/>
                    </a:lnTo>
                    <a:lnTo>
                      <a:pt x="129" y="721"/>
                    </a:lnTo>
                    <a:lnTo>
                      <a:pt x="132" y="725"/>
                    </a:lnTo>
                    <a:lnTo>
                      <a:pt x="135" y="725"/>
                    </a:lnTo>
                    <a:lnTo>
                      <a:pt x="138" y="736"/>
                    </a:lnTo>
                    <a:lnTo>
                      <a:pt x="152" y="741"/>
                    </a:lnTo>
                    <a:lnTo>
                      <a:pt x="152" y="739"/>
                    </a:lnTo>
                    <a:lnTo>
                      <a:pt x="153" y="739"/>
                    </a:lnTo>
                    <a:lnTo>
                      <a:pt x="155" y="736"/>
                    </a:lnTo>
                    <a:lnTo>
                      <a:pt x="156" y="738"/>
                    </a:lnTo>
                    <a:lnTo>
                      <a:pt x="158" y="736"/>
                    </a:lnTo>
                    <a:lnTo>
                      <a:pt x="158" y="738"/>
                    </a:lnTo>
                    <a:lnTo>
                      <a:pt x="163" y="738"/>
                    </a:lnTo>
                    <a:lnTo>
                      <a:pt x="165" y="743"/>
                    </a:lnTo>
                    <a:lnTo>
                      <a:pt x="170" y="741"/>
                    </a:lnTo>
                    <a:lnTo>
                      <a:pt x="176" y="744"/>
                    </a:lnTo>
                    <a:lnTo>
                      <a:pt x="181" y="743"/>
                    </a:lnTo>
                    <a:lnTo>
                      <a:pt x="186" y="738"/>
                    </a:lnTo>
                    <a:lnTo>
                      <a:pt x="191" y="743"/>
                    </a:lnTo>
                    <a:lnTo>
                      <a:pt x="194" y="743"/>
                    </a:lnTo>
                    <a:lnTo>
                      <a:pt x="202" y="738"/>
                    </a:lnTo>
                    <a:lnTo>
                      <a:pt x="206" y="738"/>
                    </a:lnTo>
                    <a:lnTo>
                      <a:pt x="209" y="736"/>
                    </a:lnTo>
                    <a:lnTo>
                      <a:pt x="211" y="738"/>
                    </a:lnTo>
                    <a:lnTo>
                      <a:pt x="212" y="743"/>
                    </a:lnTo>
                    <a:lnTo>
                      <a:pt x="219" y="741"/>
                    </a:lnTo>
                    <a:lnTo>
                      <a:pt x="219" y="746"/>
                    </a:lnTo>
                    <a:lnTo>
                      <a:pt x="222" y="746"/>
                    </a:lnTo>
                    <a:lnTo>
                      <a:pt x="221" y="749"/>
                    </a:lnTo>
                    <a:lnTo>
                      <a:pt x="224" y="749"/>
                    </a:lnTo>
                    <a:lnTo>
                      <a:pt x="222" y="751"/>
                    </a:lnTo>
                    <a:lnTo>
                      <a:pt x="222" y="756"/>
                    </a:lnTo>
                    <a:lnTo>
                      <a:pt x="225" y="759"/>
                    </a:lnTo>
                    <a:lnTo>
                      <a:pt x="225" y="761"/>
                    </a:lnTo>
                    <a:lnTo>
                      <a:pt x="229" y="761"/>
                    </a:lnTo>
                    <a:lnTo>
                      <a:pt x="232" y="758"/>
                    </a:lnTo>
                    <a:lnTo>
                      <a:pt x="230" y="756"/>
                    </a:lnTo>
                    <a:lnTo>
                      <a:pt x="234" y="754"/>
                    </a:lnTo>
                    <a:lnTo>
                      <a:pt x="237" y="759"/>
                    </a:lnTo>
                    <a:lnTo>
                      <a:pt x="240" y="759"/>
                    </a:lnTo>
                    <a:lnTo>
                      <a:pt x="245" y="766"/>
                    </a:lnTo>
                    <a:lnTo>
                      <a:pt x="248" y="761"/>
                    </a:lnTo>
                    <a:lnTo>
                      <a:pt x="248" y="749"/>
                    </a:lnTo>
                    <a:lnTo>
                      <a:pt x="252" y="751"/>
                    </a:lnTo>
                    <a:lnTo>
                      <a:pt x="253" y="754"/>
                    </a:lnTo>
                    <a:lnTo>
                      <a:pt x="255" y="753"/>
                    </a:lnTo>
                    <a:lnTo>
                      <a:pt x="257" y="753"/>
                    </a:lnTo>
                    <a:lnTo>
                      <a:pt x="258" y="753"/>
                    </a:lnTo>
                    <a:lnTo>
                      <a:pt x="263" y="759"/>
                    </a:lnTo>
                    <a:lnTo>
                      <a:pt x="265" y="756"/>
                    </a:lnTo>
                    <a:lnTo>
                      <a:pt x="273" y="754"/>
                    </a:lnTo>
                    <a:lnTo>
                      <a:pt x="276" y="751"/>
                    </a:lnTo>
                    <a:lnTo>
                      <a:pt x="280" y="753"/>
                    </a:lnTo>
                    <a:lnTo>
                      <a:pt x="278" y="743"/>
                    </a:lnTo>
                    <a:lnTo>
                      <a:pt x="286" y="741"/>
                    </a:lnTo>
                    <a:lnTo>
                      <a:pt x="290" y="739"/>
                    </a:lnTo>
                    <a:lnTo>
                      <a:pt x="288" y="736"/>
                    </a:lnTo>
                    <a:lnTo>
                      <a:pt x="294" y="738"/>
                    </a:lnTo>
                    <a:lnTo>
                      <a:pt x="298" y="735"/>
                    </a:lnTo>
                    <a:lnTo>
                      <a:pt x="298" y="730"/>
                    </a:lnTo>
                    <a:lnTo>
                      <a:pt x="301" y="726"/>
                    </a:lnTo>
                    <a:lnTo>
                      <a:pt x="296" y="720"/>
                    </a:lnTo>
                    <a:lnTo>
                      <a:pt x="298" y="718"/>
                    </a:lnTo>
                    <a:lnTo>
                      <a:pt x="296" y="715"/>
                    </a:lnTo>
                    <a:lnTo>
                      <a:pt x="298" y="707"/>
                    </a:lnTo>
                    <a:lnTo>
                      <a:pt x="298" y="703"/>
                    </a:lnTo>
                    <a:lnTo>
                      <a:pt x="306" y="702"/>
                    </a:lnTo>
                    <a:lnTo>
                      <a:pt x="308" y="700"/>
                    </a:lnTo>
                    <a:lnTo>
                      <a:pt x="309" y="702"/>
                    </a:lnTo>
                    <a:lnTo>
                      <a:pt x="313" y="698"/>
                    </a:lnTo>
                    <a:lnTo>
                      <a:pt x="316" y="690"/>
                    </a:lnTo>
                    <a:lnTo>
                      <a:pt x="321" y="687"/>
                    </a:lnTo>
                    <a:lnTo>
                      <a:pt x="326" y="685"/>
                    </a:lnTo>
                    <a:lnTo>
                      <a:pt x="327" y="689"/>
                    </a:lnTo>
                    <a:lnTo>
                      <a:pt x="332" y="687"/>
                    </a:lnTo>
                    <a:lnTo>
                      <a:pt x="336" y="685"/>
                    </a:lnTo>
                    <a:lnTo>
                      <a:pt x="334" y="684"/>
                    </a:lnTo>
                    <a:lnTo>
                      <a:pt x="342" y="682"/>
                    </a:lnTo>
                    <a:lnTo>
                      <a:pt x="342" y="680"/>
                    </a:lnTo>
                    <a:lnTo>
                      <a:pt x="344" y="682"/>
                    </a:lnTo>
                    <a:lnTo>
                      <a:pt x="345" y="682"/>
                    </a:lnTo>
                    <a:lnTo>
                      <a:pt x="345" y="680"/>
                    </a:lnTo>
                    <a:lnTo>
                      <a:pt x="349" y="675"/>
                    </a:lnTo>
                    <a:lnTo>
                      <a:pt x="352" y="674"/>
                    </a:lnTo>
                    <a:lnTo>
                      <a:pt x="354" y="674"/>
                    </a:lnTo>
                    <a:lnTo>
                      <a:pt x="357" y="667"/>
                    </a:lnTo>
                    <a:lnTo>
                      <a:pt x="363" y="659"/>
                    </a:lnTo>
                    <a:lnTo>
                      <a:pt x="367" y="656"/>
                    </a:lnTo>
                    <a:lnTo>
                      <a:pt x="370" y="649"/>
                    </a:lnTo>
                    <a:lnTo>
                      <a:pt x="372" y="647"/>
                    </a:lnTo>
                    <a:lnTo>
                      <a:pt x="375" y="646"/>
                    </a:lnTo>
                    <a:lnTo>
                      <a:pt x="377" y="641"/>
                    </a:lnTo>
                    <a:lnTo>
                      <a:pt x="382" y="642"/>
                    </a:lnTo>
                    <a:lnTo>
                      <a:pt x="380" y="633"/>
                    </a:lnTo>
                    <a:lnTo>
                      <a:pt x="382" y="628"/>
                    </a:lnTo>
                    <a:lnTo>
                      <a:pt x="385" y="628"/>
                    </a:lnTo>
                    <a:lnTo>
                      <a:pt x="386" y="633"/>
                    </a:lnTo>
                    <a:lnTo>
                      <a:pt x="391" y="634"/>
                    </a:lnTo>
                    <a:lnTo>
                      <a:pt x="391" y="636"/>
                    </a:lnTo>
                    <a:lnTo>
                      <a:pt x="396" y="636"/>
                    </a:lnTo>
                    <a:lnTo>
                      <a:pt x="400" y="634"/>
                    </a:lnTo>
                    <a:lnTo>
                      <a:pt x="401" y="636"/>
                    </a:lnTo>
                    <a:lnTo>
                      <a:pt x="406" y="634"/>
                    </a:lnTo>
                    <a:lnTo>
                      <a:pt x="408" y="633"/>
                    </a:lnTo>
                    <a:lnTo>
                      <a:pt x="411" y="631"/>
                    </a:lnTo>
                    <a:lnTo>
                      <a:pt x="411" y="629"/>
                    </a:lnTo>
                    <a:lnTo>
                      <a:pt x="413" y="626"/>
                    </a:lnTo>
                    <a:lnTo>
                      <a:pt x="416" y="621"/>
                    </a:lnTo>
                    <a:lnTo>
                      <a:pt x="421" y="621"/>
                    </a:lnTo>
                    <a:lnTo>
                      <a:pt x="424" y="624"/>
                    </a:lnTo>
                    <a:lnTo>
                      <a:pt x="431" y="621"/>
                    </a:lnTo>
                    <a:lnTo>
                      <a:pt x="436" y="610"/>
                    </a:lnTo>
                    <a:lnTo>
                      <a:pt x="434" y="605"/>
                    </a:lnTo>
                    <a:lnTo>
                      <a:pt x="439" y="601"/>
                    </a:lnTo>
                    <a:lnTo>
                      <a:pt x="441" y="600"/>
                    </a:lnTo>
                    <a:lnTo>
                      <a:pt x="437" y="595"/>
                    </a:lnTo>
                    <a:lnTo>
                      <a:pt x="431" y="592"/>
                    </a:lnTo>
                    <a:lnTo>
                      <a:pt x="431" y="585"/>
                    </a:lnTo>
                    <a:lnTo>
                      <a:pt x="428" y="582"/>
                    </a:lnTo>
                    <a:lnTo>
                      <a:pt x="429" y="575"/>
                    </a:lnTo>
                    <a:lnTo>
                      <a:pt x="429" y="573"/>
                    </a:lnTo>
                    <a:lnTo>
                      <a:pt x="428" y="557"/>
                    </a:lnTo>
                    <a:lnTo>
                      <a:pt x="431" y="547"/>
                    </a:lnTo>
                    <a:lnTo>
                      <a:pt x="428" y="544"/>
                    </a:lnTo>
                    <a:lnTo>
                      <a:pt x="428" y="541"/>
                    </a:lnTo>
                    <a:lnTo>
                      <a:pt x="426" y="539"/>
                    </a:lnTo>
                    <a:lnTo>
                      <a:pt x="426" y="536"/>
                    </a:lnTo>
                    <a:lnTo>
                      <a:pt x="429" y="532"/>
                    </a:lnTo>
                    <a:lnTo>
                      <a:pt x="429" y="526"/>
                    </a:lnTo>
                    <a:lnTo>
                      <a:pt x="428" y="522"/>
                    </a:lnTo>
                    <a:lnTo>
                      <a:pt x="426" y="521"/>
                    </a:lnTo>
                    <a:lnTo>
                      <a:pt x="424" y="519"/>
                    </a:lnTo>
                    <a:lnTo>
                      <a:pt x="423" y="521"/>
                    </a:lnTo>
                    <a:lnTo>
                      <a:pt x="421" y="521"/>
                    </a:lnTo>
                    <a:lnTo>
                      <a:pt x="421" y="518"/>
                    </a:lnTo>
                    <a:lnTo>
                      <a:pt x="419" y="514"/>
                    </a:lnTo>
                    <a:lnTo>
                      <a:pt x="424" y="514"/>
                    </a:lnTo>
                    <a:lnTo>
                      <a:pt x="426" y="513"/>
                    </a:lnTo>
                    <a:lnTo>
                      <a:pt x="424" y="511"/>
                    </a:lnTo>
                    <a:lnTo>
                      <a:pt x="429" y="508"/>
                    </a:lnTo>
                    <a:lnTo>
                      <a:pt x="429" y="506"/>
                    </a:lnTo>
                    <a:lnTo>
                      <a:pt x="434" y="491"/>
                    </a:lnTo>
                    <a:lnTo>
                      <a:pt x="437" y="491"/>
                    </a:lnTo>
                    <a:lnTo>
                      <a:pt x="439" y="488"/>
                    </a:lnTo>
                    <a:lnTo>
                      <a:pt x="446" y="494"/>
                    </a:lnTo>
                    <a:lnTo>
                      <a:pt x="455" y="494"/>
                    </a:lnTo>
                    <a:lnTo>
                      <a:pt x="459" y="493"/>
                    </a:lnTo>
                    <a:lnTo>
                      <a:pt x="464" y="493"/>
                    </a:lnTo>
                    <a:lnTo>
                      <a:pt x="469" y="488"/>
                    </a:lnTo>
                    <a:lnTo>
                      <a:pt x="474" y="485"/>
                    </a:lnTo>
                    <a:lnTo>
                      <a:pt x="478" y="485"/>
                    </a:lnTo>
                    <a:lnTo>
                      <a:pt x="477" y="480"/>
                    </a:lnTo>
                    <a:lnTo>
                      <a:pt x="483" y="471"/>
                    </a:lnTo>
                    <a:lnTo>
                      <a:pt x="478" y="468"/>
                    </a:lnTo>
                    <a:lnTo>
                      <a:pt x="480" y="465"/>
                    </a:lnTo>
                    <a:lnTo>
                      <a:pt x="483" y="465"/>
                    </a:lnTo>
                    <a:lnTo>
                      <a:pt x="487" y="462"/>
                    </a:lnTo>
                    <a:lnTo>
                      <a:pt x="492" y="463"/>
                    </a:lnTo>
                    <a:lnTo>
                      <a:pt x="497" y="458"/>
                    </a:lnTo>
                    <a:lnTo>
                      <a:pt x="497" y="453"/>
                    </a:lnTo>
                    <a:lnTo>
                      <a:pt x="501" y="452"/>
                    </a:lnTo>
                    <a:lnTo>
                      <a:pt x="501" y="445"/>
                    </a:lnTo>
                    <a:lnTo>
                      <a:pt x="503" y="444"/>
                    </a:lnTo>
                    <a:lnTo>
                      <a:pt x="503" y="439"/>
                    </a:lnTo>
                    <a:lnTo>
                      <a:pt x="498" y="437"/>
                    </a:lnTo>
                    <a:lnTo>
                      <a:pt x="501" y="434"/>
                    </a:lnTo>
                    <a:lnTo>
                      <a:pt x="495" y="434"/>
                    </a:lnTo>
                    <a:lnTo>
                      <a:pt x="493" y="429"/>
                    </a:lnTo>
                    <a:lnTo>
                      <a:pt x="492" y="427"/>
                    </a:lnTo>
                    <a:lnTo>
                      <a:pt x="487" y="429"/>
                    </a:lnTo>
                    <a:lnTo>
                      <a:pt x="475" y="417"/>
                    </a:lnTo>
                    <a:lnTo>
                      <a:pt x="469" y="421"/>
                    </a:lnTo>
                    <a:lnTo>
                      <a:pt x="467" y="419"/>
                    </a:lnTo>
                    <a:lnTo>
                      <a:pt x="465" y="419"/>
                    </a:lnTo>
                    <a:lnTo>
                      <a:pt x="464" y="419"/>
                    </a:lnTo>
                    <a:lnTo>
                      <a:pt x="462" y="411"/>
                    </a:lnTo>
                    <a:lnTo>
                      <a:pt x="457" y="409"/>
                    </a:lnTo>
                    <a:lnTo>
                      <a:pt x="452" y="404"/>
                    </a:lnTo>
                    <a:lnTo>
                      <a:pt x="449" y="397"/>
                    </a:lnTo>
                    <a:lnTo>
                      <a:pt x="444" y="394"/>
                    </a:lnTo>
                    <a:lnTo>
                      <a:pt x="442" y="394"/>
                    </a:lnTo>
                    <a:lnTo>
                      <a:pt x="442" y="393"/>
                    </a:lnTo>
                    <a:lnTo>
                      <a:pt x="437" y="388"/>
                    </a:lnTo>
                    <a:lnTo>
                      <a:pt x="428" y="371"/>
                    </a:lnTo>
                    <a:lnTo>
                      <a:pt x="423" y="373"/>
                    </a:lnTo>
                    <a:lnTo>
                      <a:pt x="423" y="368"/>
                    </a:lnTo>
                    <a:lnTo>
                      <a:pt x="421" y="365"/>
                    </a:lnTo>
                    <a:lnTo>
                      <a:pt x="421" y="360"/>
                    </a:lnTo>
                    <a:lnTo>
                      <a:pt x="416" y="356"/>
                    </a:lnTo>
                    <a:lnTo>
                      <a:pt x="418" y="345"/>
                    </a:lnTo>
                    <a:lnTo>
                      <a:pt x="413" y="338"/>
                    </a:lnTo>
                    <a:lnTo>
                      <a:pt x="414" y="335"/>
                    </a:lnTo>
                    <a:lnTo>
                      <a:pt x="413" y="332"/>
                    </a:lnTo>
                    <a:lnTo>
                      <a:pt x="409" y="333"/>
                    </a:lnTo>
                    <a:lnTo>
                      <a:pt x="406" y="337"/>
                    </a:lnTo>
                    <a:lnTo>
                      <a:pt x="401" y="335"/>
                    </a:lnTo>
                    <a:lnTo>
                      <a:pt x="401" y="340"/>
                    </a:lnTo>
                    <a:lnTo>
                      <a:pt x="391" y="340"/>
                    </a:lnTo>
                    <a:lnTo>
                      <a:pt x="388" y="337"/>
                    </a:lnTo>
                    <a:lnTo>
                      <a:pt x="385" y="332"/>
                    </a:lnTo>
                    <a:lnTo>
                      <a:pt x="382" y="335"/>
                    </a:lnTo>
                    <a:lnTo>
                      <a:pt x="380" y="333"/>
                    </a:lnTo>
                    <a:lnTo>
                      <a:pt x="380" y="327"/>
                    </a:lnTo>
                    <a:lnTo>
                      <a:pt x="375" y="323"/>
                    </a:lnTo>
                    <a:lnTo>
                      <a:pt x="373" y="315"/>
                    </a:lnTo>
                    <a:lnTo>
                      <a:pt x="370" y="309"/>
                    </a:lnTo>
                    <a:lnTo>
                      <a:pt x="372" y="309"/>
                    </a:lnTo>
                    <a:lnTo>
                      <a:pt x="377" y="302"/>
                    </a:lnTo>
                    <a:lnTo>
                      <a:pt x="380" y="302"/>
                    </a:lnTo>
                    <a:lnTo>
                      <a:pt x="382" y="296"/>
                    </a:lnTo>
                    <a:lnTo>
                      <a:pt x="385" y="292"/>
                    </a:lnTo>
                    <a:lnTo>
                      <a:pt x="385" y="287"/>
                    </a:lnTo>
                    <a:lnTo>
                      <a:pt x="386" y="279"/>
                    </a:lnTo>
                    <a:lnTo>
                      <a:pt x="383" y="274"/>
                    </a:lnTo>
                    <a:lnTo>
                      <a:pt x="388" y="271"/>
                    </a:lnTo>
                    <a:lnTo>
                      <a:pt x="386" y="268"/>
                    </a:lnTo>
                    <a:lnTo>
                      <a:pt x="386" y="264"/>
                    </a:lnTo>
                    <a:lnTo>
                      <a:pt x="391" y="259"/>
                    </a:lnTo>
                    <a:lnTo>
                      <a:pt x="409" y="248"/>
                    </a:lnTo>
                    <a:lnTo>
                      <a:pt x="414" y="246"/>
                    </a:lnTo>
                    <a:lnTo>
                      <a:pt x="416" y="240"/>
                    </a:lnTo>
                    <a:lnTo>
                      <a:pt x="416" y="233"/>
                    </a:lnTo>
                    <a:lnTo>
                      <a:pt x="405" y="226"/>
                    </a:lnTo>
                    <a:lnTo>
                      <a:pt x="403" y="222"/>
                    </a:lnTo>
                    <a:lnTo>
                      <a:pt x="400" y="223"/>
                    </a:lnTo>
                    <a:lnTo>
                      <a:pt x="403" y="217"/>
                    </a:lnTo>
                    <a:lnTo>
                      <a:pt x="395" y="208"/>
                    </a:lnTo>
                    <a:lnTo>
                      <a:pt x="393" y="203"/>
                    </a:lnTo>
                    <a:lnTo>
                      <a:pt x="391" y="200"/>
                    </a:lnTo>
                    <a:lnTo>
                      <a:pt x="393" y="199"/>
                    </a:lnTo>
                    <a:lnTo>
                      <a:pt x="388" y="190"/>
                    </a:lnTo>
                    <a:lnTo>
                      <a:pt x="383" y="187"/>
                    </a:lnTo>
                    <a:lnTo>
                      <a:pt x="382" y="189"/>
                    </a:lnTo>
                    <a:lnTo>
                      <a:pt x="378" y="189"/>
                    </a:lnTo>
                    <a:lnTo>
                      <a:pt x="378" y="185"/>
                    </a:lnTo>
                    <a:lnTo>
                      <a:pt x="375" y="187"/>
                    </a:lnTo>
                    <a:lnTo>
                      <a:pt x="375" y="184"/>
                    </a:lnTo>
                    <a:lnTo>
                      <a:pt x="372" y="182"/>
                    </a:lnTo>
                    <a:lnTo>
                      <a:pt x="370" y="184"/>
                    </a:lnTo>
                    <a:lnTo>
                      <a:pt x="367" y="182"/>
                    </a:lnTo>
                    <a:lnTo>
                      <a:pt x="367" y="179"/>
                    </a:lnTo>
                    <a:lnTo>
                      <a:pt x="368" y="176"/>
                    </a:lnTo>
                    <a:lnTo>
                      <a:pt x="367" y="172"/>
                    </a:lnTo>
                    <a:lnTo>
                      <a:pt x="363" y="167"/>
                    </a:lnTo>
                    <a:lnTo>
                      <a:pt x="363" y="162"/>
                    </a:lnTo>
                    <a:lnTo>
                      <a:pt x="362" y="162"/>
                    </a:lnTo>
                    <a:lnTo>
                      <a:pt x="359" y="166"/>
                    </a:lnTo>
                    <a:lnTo>
                      <a:pt x="357" y="164"/>
                    </a:lnTo>
                    <a:lnTo>
                      <a:pt x="352" y="167"/>
                    </a:lnTo>
                    <a:lnTo>
                      <a:pt x="352" y="164"/>
                    </a:lnTo>
                    <a:lnTo>
                      <a:pt x="350" y="161"/>
                    </a:lnTo>
                    <a:lnTo>
                      <a:pt x="354" y="157"/>
                    </a:lnTo>
                    <a:lnTo>
                      <a:pt x="349" y="154"/>
                    </a:lnTo>
                    <a:lnTo>
                      <a:pt x="329" y="159"/>
                    </a:lnTo>
                    <a:lnTo>
                      <a:pt x="327" y="157"/>
                    </a:lnTo>
                    <a:lnTo>
                      <a:pt x="327" y="156"/>
                    </a:lnTo>
                    <a:lnTo>
                      <a:pt x="319" y="148"/>
                    </a:lnTo>
                    <a:lnTo>
                      <a:pt x="314" y="149"/>
                    </a:lnTo>
                    <a:lnTo>
                      <a:pt x="313" y="151"/>
                    </a:lnTo>
                    <a:lnTo>
                      <a:pt x="308" y="148"/>
                    </a:lnTo>
                    <a:lnTo>
                      <a:pt x="308" y="138"/>
                    </a:lnTo>
                    <a:lnTo>
                      <a:pt x="309" y="136"/>
                    </a:lnTo>
                    <a:lnTo>
                      <a:pt x="313" y="139"/>
                    </a:lnTo>
                    <a:lnTo>
                      <a:pt x="313" y="138"/>
                    </a:lnTo>
                    <a:lnTo>
                      <a:pt x="311" y="133"/>
                    </a:lnTo>
                    <a:lnTo>
                      <a:pt x="306" y="133"/>
                    </a:lnTo>
                    <a:lnTo>
                      <a:pt x="304" y="120"/>
                    </a:lnTo>
                    <a:lnTo>
                      <a:pt x="303" y="118"/>
                    </a:lnTo>
                    <a:lnTo>
                      <a:pt x="301" y="116"/>
                    </a:lnTo>
                    <a:lnTo>
                      <a:pt x="299" y="115"/>
                    </a:lnTo>
                    <a:lnTo>
                      <a:pt x="281" y="121"/>
                    </a:lnTo>
                    <a:lnTo>
                      <a:pt x="280" y="120"/>
                    </a:lnTo>
                    <a:lnTo>
                      <a:pt x="270" y="120"/>
                    </a:lnTo>
                    <a:lnTo>
                      <a:pt x="267" y="116"/>
                    </a:lnTo>
                    <a:lnTo>
                      <a:pt x="268" y="108"/>
                    </a:lnTo>
                    <a:lnTo>
                      <a:pt x="268" y="98"/>
                    </a:lnTo>
                    <a:lnTo>
                      <a:pt x="267" y="98"/>
                    </a:lnTo>
                    <a:lnTo>
                      <a:pt x="265" y="97"/>
                    </a:lnTo>
                    <a:lnTo>
                      <a:pt x="263" y="93"/>
                    </a:lnTo>
                    <a:lnTo>
                      <a:pt x="253" y="88"/>
                    </a:lnTo>
                    <a:lnTo>
                      <a:pt x="253" y="87"/>
                    </a:lnTo>
                    <a:lnTo>
                      <a:pt x="247" y="87"/>
                    </a:lnTo>
                    <a:lnTo>
                      <a:pt x="247" y="83"/>
                    </a:lnTo>
                    <a:lnTo>
                      <a:pt x="244" y="82"/>
                    </a:lnTo>
                    <a:lnTo>
                      <a:pt x="244" y="79"/>
                    </a:lnTo>
                    <a:lnTo>
                      <a:pt x="240" y="75"/>
                    </a:lnTo>
                    <a:lnTo>
                      <a:pt x="240" y="74"/>
                    </a:lnTo>
                    <a:lnTo>
                      <a:pt x="234" y="69"/>
                    </a:lnTo>
                    <a:lnTo>
                      <a:pt x="234" y="60"/>
                    </a:lnTo>
                    <a:lnTo>
                      <a:pt x="235" y="59"/>
                    </a:lnTo>
                    <a:lnTo>
                      <a:pt x="235" y="52"/>
                    </a:lnTo>
                    <a:lnTo>
                      <a:pt x="239" y="52"/>
                    </a:lnTo>
                    <a:lnTo>
                      <a:pt x="240" y="49"/>
                    </a:lnTo>
                    <a:lnTo>
                      <a:pt x="244" y="49"/>
                    </a:lnTo>
                    <a:lnTo>
                      <a:pt x="245" y="46"/>
                    </a:lnTo>
                    <a:lnTo>
                      <a:pt x="245" y="42"/>
                    </a:lnTo>
                    <a:lnTo>
                      <a:pt x="263" y="23"/>
                    </a:lnTo>
                    <a:lnTo>
                      <a:pt x="265" y="14"/>
                    </a:lnTo>
                    <a:lnTo>
                      <a:pt x="270" y="8"/>
                    </a:lnTo>
                    <a:lnTo>
                      <a:pt x="270" y="0"/>
                    </a:lnTo>
                    <a:lnTo>
                      <a:pt x="265" y="5"/>
                    </a:lnTo>
                    <a:lnTo>
                      <a:pt x="257" y="13"/>
                    </a:lnTo>
                    <a:lnTo>
                      <a:pt x="248" y="14"/>
                    </a:lnTo>
                    <a:lnTo>
                      <a:pt x="239" y="24"/>
                    </a:lnTo>
                    <a:lnTo>
                      <a:pt x="230" y="26"/>
                    </a:lnTo>
                    <a:lnTo>
                      <a:pt x="224" y="26"/>
                    </a:lnTo>
                    <a:lnTo>
                      <a:pt x="221" y="28"/>
                    </a:lnTo>
                    <a:lnTo>
                      <a:pt x="212" y="28"/>
                    </a:lnTo>
                    <a:lnTo>
                      <a:pt x="207" y="23"/>
                    </a:lnTo>
                    <a:lnTo>
                      <a:pt x="204" y="32"/>
                    </a:lnTo>
                    <a:lnTo>
                      <a:pt x="196" y="39"/>
                    </a:lnTo>
                    <a:lnTo>
                      <a:pt x="194" y="42"/>
                    </a:lnTo>
                    <a:lnTo>
                      <a:pt x="194" y="44"/>
                    </a:lnTo>
                    <a:lnTo>
                      <a:pt x="194" y="46"/>
                    </a:lnTo>
                    <a:lnTo>
                      <a:pt x="193" y="47"/>
                    </a:lnTo>
                    <a:lnTo>
                      <a:pt x="189" y="46"/>
                    </a:lnTo>
                    <a:lnTo>
                      <a:pt x="186" y="46"/>
                    </a:lnTo>
                    <a:lnTo>
                      <a:pt x="176" y="44"/>
                    </a:lnTo>
                    <a:lnTo>
                      <a:pt x="173" y="42"/>
                    </a:lnTo>
                    <a:lnTo>
                      <a:pt x="173" y="37"/>
                    </a:lnTo>
                    <a:lnTo>
                      <a:pt x="173" y="34"/>
                    </a:lnTo>
                    <a:lnTo>
                      <a:pt x="168" y="31"/>
                    </a:lnTo>
                    <a:lnTo>
                      <a:pt x="166" y="31"/>
                    </a:lnTo>
                    <a:lnTo>
                      <a:pt x="161" y="32"/>
                    </a:lnTo>
                    <a:lnTo>
                      <a:pt x="158" y="31"/>
                    </a:lnTo>
                    <a:lnTo>
                      <a:pt x="152" y="26"/>
                    </a:lnTo>
                    <a:lnTo>
                      <a:pt x="145" y="31"/>
                    </a:lnTo>
                    <a:lnTo>
                      <a:pt x="145" y="36"/>
                    </a:lnTo>
                    <a:lnTo>
                      <a:pt x="138" y="39"/>
                    </a:lnTo>
                    <a:lnTo>
                      <a:pt x="127" y="37"/>
                    </a:lnTo>
                    <a:lnTo>
                      <a:pt x="129" y="44"/>
                    </a:lnTo>
                    <a:lnTo>
                      <a:pt x="127" y="47"/>
                    </a:lnTo>
                    <a:lnTo>
                      <a:pt x="129" y="51"/>
                    </a:lnTo>
                    <a:lnTo>
                      <a:pt x="138" y="54"/>
                    </a:lnTo>
                    <a:lnTo>
                      <a:pt x="137" y="54"/>
                    </a:lnTo>
                    <a:lnTo>
                      <a:pt x="138" y="59"/>
                    </a:lnTo>
                    <a:lnTo>
                      <a:pt x="140" y="57"/>
                    </a:lnTo>
                    <a:lnTo>
                      <a:pt x="142" y="60"/>
                    </a:lnTo>
                    <a:lnTo>
                      <a:pt x="140" y="60"/>
                    </a:lnTo>
                    <a:lnTo>
                      <a:pt x="140" y="64"/>
                    </a:lnTo>
                    <a:lnTo>
                      <a:pt x="143" y="70"/>
                    </a:lnTo>
                    <a:lnTo>
                      <a:pt x="148" y="70"/>
                    </a:lnTo>
                    <a:lnTo>
                      <a:pt x="150" y="69"/>
                    </a:lnTo>
                    <a:lnTo>
                      <a:pt x="148" y="65"/>
                    </a:lnTo>
                    <a:lnTo>
                      <a:pt x="153" y="67"/>
                    </a:lnTo>
                    <a:lnTo>
                      <a:pt x="155" y="64"/>
                    </a:lnTo>
                    <a:lnTo>
                      <a:pt x="156" y="64"/>
                    </a:lnTo>
                    <a:lnTo>
                      <a:pt x="155" y="64"/>
                    </a:lnTo>
                    <a:lnTo>
                      <a:pt x="153" y="67"/>
                    </a:lnTo>
                    <a:lnTo>
                      <a:pt x="152" y="70"/>
                    </a:lnTo>
                    <a:lnTo>
                      <a:pt x="148" y="79"/>
                    </a:lnTo>
                    <a:lnTo>
                      <a:pt x="143" y="82"/>
                    </a:lnTo>
                    <a:lnTo>
                      <a:pt x="142" y="87"/>
                    </a:lnTo>
                    <a:lnTo>
                      <a:pt x="143" y="87"/>
                    </a:lnTo>
                    <a:lnTo>
                      <a:pt x="140" y="88"/>
                    </a:lnTo>
                    <a:lnTo>
                      <a:pt x="140" y="90"/>
                    </a:lnTo>
                    <a:lnTo>
                      <a:pt x="142" y="92"/>
                    </a:lnTo>
                    <a:lnTo>
                      <a:pt x="145" y="87"/>
                    </a:lnTo>
                    <a:lnTo>
                      <a:pt x="143" y="90"/>
                    </a:lnTo>
                    <a:lnTo>
                      <a:pt x="143" y="92"/>
                    </a:lnTo>
                    <a:lnTo>
                      <a:pt x="142" y="92"/>
                    </a:lnTo>
                    <a:lnTo>
                      <a:pt x="137" y="97"/>
                    </a:lnTo>
                    <a:lnTo>
                      <a:pt x="132" y="98"/>
                    </a:lnTo>
                    <a:lnTo>
                      <a:pt x="127" y="100"/>
                    </a:lnTo>
                    <a:lnTo>
                      <a:pt x="124" y="100"/>
                    </a:lnTo>
                    <a:lnTo>
                      <a:pt x="124" y="102"/>
                    </a:lnTo>
                    <a:lnTo>
                      <a:pt x="122" y="105"/>
                    </a:lnTo>
                    <a:lnTo>
                      <a:pt x="119" y="106"/>
                    </a:lnTo>
                    <a:lnTo>
                      <a:pt x="117" y="111"/>
                    </a:lnTo>
                    <a:lnTo>
                      <a:pt x="115" y="115"/>
                    </a:lnTo>
                    <a:lnTo>
                      <a:pt x="114" y="115"/>
                    </a:lnTo>
                    <a:lnTo>
                      <a:pt x="114" y="120"/>
                    </a:lnTo>
                    <a:lnTo>
                      <a:pt x="110" y="121"/>
                    </a:lnTo>
                    <a:lnTo>
                      <a:pt x="107" y="125"/>
                    </a:lnTo>
                    <a:lnTo>
                      <a:pt x="110" y="123"/>
                    </a:lnTo>
                    <a:lnTo>
                      <a:pt x="107" y="125"/>
                    </a:lnTo>
                    <a:lnTo>
                      <a:pt x="114" y="131"/>
                    </a:lnTo>
                    <a:lnTo>
                      <a:pt x="114" y="139"/>
                    </a:lnTo>
                    <a:lnTo>
                      <a:pt x="115" y="144"/>
                    </a:lnTo>
                    <a:lnTo>
                      <a:pt x="117" y="143"/>
                    </a:lnTo>
                    <a:lnTo>
                      <a:pt x="114" y="144"/>
                    </a:lnTo>
                    <a:lnTo>
                      <a:pt x="115" y="149"/>
                    </a:lnTo>
                    <a:lnTo>
                      <a:pt x="120" y="149"/>
                    </a:lnTo>
                    <a:lnTo>
                      <a:pt x="120" y="148"/>
                    </a:lnTo>
                    <a:lnTo>
                      <a:pt x="119" y="146"/>
                    </a:lnTo>
                    <a:lnTo>
                      <a:pt x="122" y="148"/>
                    </a:lnTo>
                    <a:lnTo>
                      <a:pt x="120" y="146"/>
                    </a:lnTo>
                    <a:lnTo>
                      <a:pt x="119" y="144"/>
                    </a:lnTo>
                    <a:lnTo>
                      <a:pt x="120" y="146"/>
                    </a:lnTo>
                    <a:lnTo>
                      <a:pt x="120" y="143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2" y="148"/>
                    </a:lnTo>
                    <a:lnTo>
                      <a:pt x="122" y="151"/>
                    </a:lnTo>
                    <a:lnTo>
                      <a:pt x="124" y="143"/>
                    </a:lnTo>
                    <a:lnTo>
                      <a:pt x="125" y="143"/>
                    </a:lnTo>
                    <a:lnTo>
                      <a:pt x="124" y="141"/>
                    </a:lnTo>
                    <a:lnTo>
                      <a:pt x="124" y="139"/>
                    </a:lnTo>
                    <a:lnTo>
                      <a:pt x="124" y="141"/>
                    </a:lnTo>
                    <a:lnTo>
                      <a:pt x="125" y="139"/>
                    </a:lnTo>
                    <a:lnTo>
                      <a:pt x="125" y="141"/>
                    </a:lnTo>
                    <a:lnTo>
                      <a:pt x="129" y="141"/>
                    </a:lnTo>
                    <a:lnTo>
                      <a:pt x="127" y="141"/>
                    </a:lnTo>
                    <a:lnTo>
                      <a:pt x="129" y="139"/>
                    </a:lnTo>
                    <a:lnTo>
                      <a:pt x="127" y="139"/>
                    </a:lnTo>
                    <a:lnTo>
                      <a:pt x="127" y="138"/>
                    </a:lnTo>
                    <a:lnTo>
                      <a:pt x="125" y="138"/>
                    </a:lnTo>
                    <a:lnTo>
                      <a:pt x="125" y="134"/>
                    </a:lnTo>
                    <a:lnTo>
                      <a:pt x="127" y="138"/>
                    </a:lnTo>
                    <a:lnTo>
                      <a:pt x="129" y="141"/>
                    </a:lnTo>
                    <a:lnTo>
                      <a:pt x="135" y="134"/>
                    </a:lnTo>
                    <a:lnTo>
                      <a:pt x="132" y="141"/>
                    </a:lnTo>
                    <a:lnTo>
                      <a:pt x="135" y="141"/>
                    </a:lnTo>
                    <a:lnTo>
                      <a:pt x="137" y="139"/>
                    </a:lnTo>
                    <a:lnTo>
                      <a:pt x="137" y="138"/>
                    </a:lnTo>
                    <a:lnTo>
                      <a:pt x="138" y="138"/>
                    </a:lnTo>
                    <a:lnTo>
                      <a:pt x="138" y="134"/>
                    </a:lnTo>
                    <a:lnTo>
                      <a:pt x="137" y="136"/>
                    </a:lnTo>
                    <a:lnTo>
                      <a:pt x="138" y="134"/>
                    </a:lnTo>
                    <a:lnTo>
                      <a:pt x="137" y="134"/>
                    </a:lnTo>
                    <a:lnTo>
                      <a:pt x="135" y="133"/>
                    </a:lnTo>
                    <a:lnTo>
                      <a:pt x="138" y="134"/>
                    </a:lnTo>
                    <a:lnTo>
                      <a:pt x="137" y="133"/>
                    </a:lnTo>
                    <a:lnTo>
                      <a:pt x="135" y="131"/>
                    </a:lnTo>
                    <a:lnTo>
                      <a:pt x="135" y="129"/>
                    </a:lnTo>
                    <a:lnTo>
                      <a:pt x="137" y="129"/>
                    </a:lnTo>
                    <a:lnTo>
                      <a:pt x="135" y="128"/>
                    </a:lnTo>
                    <a:lnTo>
                      <a:pt x="138" y="129"/>
                    </a:lnTo>
                    <a:lnTo>
                      <a:pt x="138" y="126"/>
                    </a:lnTo>
                    <a:lnTo>
                      <a:pt x="138" y="125"/>
                    </a:lnTo>
                    <a:lnTo>
                      <a:pt x="137" y="126"/>
                    </a:lnTo>
                    <a:lnTo>
                      <a:pt x="138" y="125"/>
                    </a:lnTo>
                    <a:lnTo>
                      <a:pt x="137" y="123"/>
                    </a:lnTo>
                    <a:lnTo>
                      <a:pt x="135" y="125"/>
                    </a:lnTo>
                    <a:lnTo>
                      <a:pt x="137" y="123"/>
                    </a:lnTo>
                    <a:lnTo>
                      <a:pt x="133" y="121"/>
                    </a:lnTo>
                    <a:lnTo>
                      <a:pt x="133" y="120"/>
                    </a:lnTo>
                    <a:lnTo>
                      <a:pt x="135" y="120"/>
                    </a:lnTo>
                    <a:lnTo>
                      <a:pt x="135" y="118"/>
                    </a:lnTo>
                    <a:lnTo>
                      <a:pt x="133" y="120"/>
                    </a:lnTo>
                    <a:lnTo>
                      <a:pt x="137" y="115"/>
                    </a:lnTo>
                    <a:lnTo>
                      <a:pt x="147" y="111"/>
                    </a:lnTo>
                    <a:lnTo>
                      <a:pt x="148" y="111"/>
                    </a:lnTo>
                    <a:lnTo>
                      <a:pt x="150" y="111"/>
                    </a:lnTo>
                    <a:lnTo>
                      <a:pt x="152" y="106"/>
                    </a:lnTo>
                    <a:lnTo>
                      <a:pt x="153" y="106"/>
                    </a:lnTo>
                    <a:lnTo>
                      <a:pt x="153" y="108"/>
                    </a:lnTo>
                    <a:lnTo>
                      <a:pt x="153" y="110"/>
                    </a:lnTo>
                    <a:lnTo>
                      <a:pt x="152" y="113"/>
                    </a:lnTo>
                    <a:lnTo>
                      <a:pt x="150" y="113"/>
                    </a:lnTo>
                    <a:lnTo>
                      <a:pt x="147" y="111"/>
                    </a:lnTo>
                    <a:lnTo>
                      <a:pt x="137" y="116"/>
                    </a:lnTo>
                    <a:lnTo>
                      <a:pt x="135" y="120"/>
                    </a:lnTo>
                    <a:lnTo>
                      <a:pt x="137" y="118"/>
                    </a:lnTo>
                    <a:lnTo>
                      <a:pt x="137" y="120"/>
                    </a:lnTo>
                    <a:lnTo>
                      <a:pt x="138" y="120"/>
                    </a:lnTo>
                    <a:lnTo>
                      <a:pt x="137" y="121"/>
                    </a:lnTo>
                    <a:lnTo>
                      <a:pt x="138" y="120"/>
                    </a:lnTo>
                    <a:lnTo>
                      <a:pt x="137" y="121"/>
                    </a:lnTo>
                    <a:lnTo>
                      <a:pt x="138" y="120"/>
                    </a:lnTo>
                    <a:lnTo>
                      <a:pt x="140" y="121"/>
                    </a:lnTo>
                    <a:lnTo>
                      <a:pt x="138" y="121"/>
                    </a:lnTo>
                    <a:lnTo>
                      <a:pt x="138" y="123"/>
                    </a:lnTo>
                    <a:lnTo>
                      <a:pt x="140" y="125"/>
                    </a:lnTo>
                    <a:lnTo>
                      <a:pt x="140" y="123"/>
                    </a:lnTo>
                    <a:lnTo>
                      <a:pt x="140" y="121"/>
                    </a:lnTo>
                    <a:lnTo>
                      <a:pt x="140" y="123"/>
                    </a:lnTo>
                    <a:lnTo>
                      <a:pt x="142" y="134"/>
                    </a:lnTo>
                    <a:lnTo>
                      <a:pt x="138" y="139"/>
                    </a:lnTo>
                    <a:lnTo>
                      <a:pt x="138" y="144"/>
                    </a:lnTo>
                    <a:lnTo>
                      <a:pt x="143" y="148"/>
                    </a:lnTo>
                    <a:lnTo>
                      <a:pt x="140" y="146"/>
                    </a:lnTo>
                    <a:lnTo>
                      <a:pt x="140" y="148"/>
                    </a:lnTo>
                    <a:lnTo>
                      <a:pt x="138" y="144"/>
                    </a:lnTo>
                    <a:lnTo>
                      <a:pt x="137" y="146"/>
                    </a:lnTo>
                    <a:lnTo>
                      <a:pt x="130" y="144"/>
                    </a:lnTo>
                    <a:lnTo>
                      <a:pt x="129" y="146"/>
                    </a:lnTo>
                    <a:lnTo>
                      <a:pt x="130" y="148"/>
                    </a:lnTo>
                    <a:lnTo>
                      <a:pt x="129" y="148"/>
                    </a:lnTo>
                    <a:lnTo>
                      <a:pt x="129" y="146"/>
                    </a:lnTo>
                    <a:lnTo>
                      <a:pt x="127" y="148"/>
                    </a:lnTo>
                    <a:lnTo>
                      <a:pt x="127" y="154"/>
                    </a:lnTo>
                    <a:lnTo>
                      <a:pt x="124" y="156"/>
                    </a:lnTo>
                    <a:lnTo>
                      <a:pt x="127" y="162"/>
                    </a:lnTo>
                    <a:lnTo>
                      <a:pt x="130" y="164"/>
                    </a:lnTo>
                    <a:lnTo>
                      <a:pt x="132" y="164"/>
                    </a:lnTo>
                    <a:lnTo>
                      <a:pt x="133" y="164"/>
                    </a:lnTo>
                    <a:lnTo>
                      <a:pt x="135" y="164"/>
                    </a:lnTo>
                    <a:lnTo>
                      <a:pt x="133" y="166"/>
                    </a:lnTo>
                    <a:lnTo>
                      <a:pt x="132" y="164"/>
                    </a:lnTo>
                    <a:lnTo>
                      <a:pt x="138" y="171"/>
                    </a:lnTo>
                    <a:lnTo>
                      <a:pt x="130" y="164"/>
                    </a:lnTo>
                    <a:lnTo>
                      <a:pt x="130" y="169"/>
                    </a:lnTo>
                    <a:lnTo>
                      <a:pt x="129" y="167"/>
                    </a:lnTo>
                    <a:lnTo>
                      <a:pt x="129" y="171"/>
                    </a:lnTo>
                    <a:lnTo>
                      <a:pt x="124" y="172"/>
                    </a:lnTo>
                    <a:lnTo>
                      <a:pt x="127" y="172"/>
                    </a:lnTo>
                    <a:lnTo>
                      <a:pt x="124" y="172"/>
                    </a:lnTo>
                    <a:lnTo>
                      <a:pt x="124" y="176"/>
                    </a:lnTo>
                    <a:lnTo>
                      <a:pt x="125" y="176"/>
                    </a:lnTo>
                    <a:lnTo>
                      <a:pt x="122" y="176"/>
                    </a:lnTo>
                    <a:lnTo>
                      <a:pt x="122" y="177"/>
                    </a:lnTo>
                    <a:lnTo>
                      <a:pt x="122" y="176"/>
                    </a:lnTo>
                    <a:lnTo>
                      <a:pt x="120" y="176"/>
                    </a:lnTo>
                    <a:lnTo>
                      <a:pt x="117" y="177"/>
                    </a:lnTo>
                    <a:lnTo>
                      <a:pt x="120" y="177"/>
                    </a:lnTo>
                    <a:lnTo>
                      <a:pt x="120" y="179"/>
                    </a:lnTo>
                    <a:lnTo>
                      <a:pt x="119" y="179"/>
                    </a:lnTo>
                    <a:lnTo>
                      <a:pt x="119" y="180"/>
                    </a:lnTo>
                    <a:lnTo>
                      <a:pt x="117" y="179"/>
                    </a:lnTo>
                    <a:lnTo>
                      <a:pt x="115" y="180"/>
                    </a:lnTo>
                    <a:lnTo>
                      <a:pt x="115" y="179"/>
                    </a:lnTo>
                    <a:lnTo>
                      <a:pt x="115" y="180"/>
                    </a:lnTo>
                    <a:lnTo>
                      <a:pt x="114" y="179"/>
                    </a:lnTo>
                    <a:lnTo>
                      <a:pt x="114" y="180"/>
                    </a:lnTo>
                    <a:lnTo>
                      <a:pt x="110" y="177"/>
                    </a:lnTo>
                    <a:lnTo>
                      <a:pt x="109" y="179"/>
                    </a:lnTo>
                    <a:lnTo>
                      <a:pt x="110" y="177"/>
                    </a:lnTo>
                    <a:lnTo>
                      <a:pt x="107" y="176"/>
                    </a:lnTo>
                    <a:lnTo>
                      <a:pt x="110" y="176"/>
                    </a:lnTo>
                    <a:lnTo>
                      <a:pt x="110" y="172"/>
                    </a:lnTo>
                    <a:lnTo>
                      <a:pt x="106" y="174"/>
                    </a:lnTo>
                    <a:lnTo>
                      <a:pt x="96" y="177"/>
                    </a:lnTo>
                    <a:lnTo>
                      <a:pt x="89" y="180"/>
                    </a:lnTo>
                    <a:lnTo>
                      <a:pt x="86" y="184"/>
                    </a:lnTo>
                    <a:lnTo>
                      <a:pt x="84" y="184"/>
                    </a:lnTo>
                    <a:lnTo>
                      <a:pt x="81" y="187"/>
                    </a:lnTo>
                    <a:lnTo>
                      <a:pt x="83" y="195"/>
                    </a:lnTo>
                    <a:lnTo>
                      <a:pt x="81" y="199"/>
                    </a:lnTo>
                    <a:lnTo>
                      <a:pt x="83" y="199"/>
                    </a:lnTo>
                    <a:lnTo>
                      <a:pt x="83" y="197"/>
                    </a:lnTo>
                    <a:lnTo>
                      <a:pt x="84" y="197"/>
                    </a:lnTo>
                    <a:lnTo>
                      <a:pt x="83" y="197"/>
                    </a:lnTo>
                    <a:lnTo>
                      <a:pt x="84" y="199"/>
                    </a:lnTo>
                    <a:lnTo>
                      <a:pt x="84" y="200"/>
                    </a:lnTo>
                    <a:lnTo>
                      <a:pt x="86" y="202"/>
                    </a:lnTo>
                    <a:lnTo>
                      <a:pt x="84" y="200"/>
                    </a:lnTo>
                    <a:lnTo>
                      <a:pt x="84" y="199"/>
                    </a:lnTo>
                    <a:lnTo>
                      <a:pt x="83" y="200"/>
                    </a:lnTo>
                    <a:lnTo>
                      <a:pt x="83" y="205"/>
                    </a:lnTo>
                    <a:lnTo>
                      <a:pt x="86" y="207"/>
                    </a:lnTo>
                    <a:lnTo>
                      <a:pt x="84" y="208"/>
                    </a:lnTo>
                    <a:lnTo>
                      <a:pt x="86" y="207"/>
                    </a:lnTo>
                    <a:lnTo>
                      <a:pt x="86" y="210"/>
                    </a:lnTo>
                    <a:lnTo>
                      <a:pt x="92" y="217"/>
                    </a:lnTo>
                    <a:lnTo>
                      <a:pt x="94" y="217"/>
                    </a:lnTo>
                    <a:lnTo>
                      <a:pt x="91" y="225"/>
                    </a:lnTo>
                    <a:lnTo>
                      <a:pt x="96" y="226"/>
                    </a:lnTo>
                    <a:lnTo>
                      <a:pt x="97" y="228"/>
                    </a:lnTo>
                    <a:lnTo>
                      <a:pt x="101" y="231"/>
                    </a:lnTo>
                    <a:lnTo>
                      <a:pt x="102" y="228"/>
                    </a:lnTo>
                    <a:lnTo>
                      <a:pt x="107" y="230"/>
                    </a:lnTo>
                    <a:lnTo>
                      <a:pt x="110" y="226"/>
                    </a:lnTo>
                    <a:lnTo>
                      <a:pt x="112" y="225"/>
                    </a:lnTo>
                    <a:lnTo>
                      <a:pt x="115" y="225"/>
                    </a:lnTo>
                    <a:lnTo>
                      <a:pt x="117" y="226"/>
                    </a:lnTo>
                    <a:lnTo>
                      <a:pt x="120" y="225"/>
                    </a:lnTo>
                    <a:lnTo>
                      <a:pt x="117" y="226"/>
                    </a:lnTo>
                    <a:lnTo>
                      <a:pt x="114" y="225"/>
                    </a:lnTo>
                    <a:lnTo>
                      <a:pt x="112" y="225"/>
                    </a:lnTo>
                    <a:lnTo>
                      <a:pt x="110" y="228"/>
                    </a:lnTo>
                    <a:lnTo>
                      <a:pt x="109" y="230"/>
                    </a:lnTo>
                    <a:lnTo>
                      <a:pt x="104" y="230"/>
                    </a:lnTo>
                    <a:lnTo>
                      <a:pt x="102" y="233"/>
                    </a:lnTo>
                    <a:lnTo>
                      <a:pt x="101" y="233"/>
                    </a:lnTo>
                    <a:lnTo>
                      <a:pt x="94" y="226"/>
                    </a:lnTo>
                    <a:lnTo>
                      <a:pt x="89" y="226"/>
                    </a:lnTo>
                    <a:lnTo>
                      <a:pt x="87" y="226"/>
                    </a:lnTo>
                    <a:lnTo>
                      <a:pt x="87" y="228"/>
                    </a:lnTo>
                    <a:lnTo>
                      <a:pt x="87" y="226"/>
                    </a:lnTo>
                    <a:lnTo>
                      <a:pt x="89" y="226"/>
                    </a:lnTo>
                    <a:lnTo>
                      <a:pt x="87" y="222"/>
                    </a:lnTo>
                    <a:lnTo>
                      <a:pt x="91" y="218"/>
                    </a:lnTo>
                    <a:lnTo>
                      <a:pt x="89" y="215"/>
                    </a:lnTo>
                    <a:lnTo>
                      <a:pt x="86" y="215"/>
                    </a:lnTo>
                    <a:lnTo>
                      <a:pt x="83" y="212"/>
                    </a:lnTo>
                    <a:lnTo>
                      <a:pt x="79" y="208"/>
                    </a:lnTo>
                    <a:lnTo>
                      <a:pt x="78" y="203"/>
                    </a:lnTo>
                    <a:lnTo>
                      <a:pt x="78" y="199"/>
                    </a:lnTo>
                    <a:lnTo>
                      <a:pt x="78" y="202"/>
                    </a:lnTo>
                    <a:lnTo>
                      <a:pt x="79" y="192"/>
                    </a:lnTo>
                    <a:lnTo>
                      <a:pt x="76" y="192"/>
                    </a:lnTo>
                    <a:lnTo>
                      <a:pt x="78" y="192"/>
                    </a:lnTo>
                    <a:lnTo>
                      <a:pt x="79" y="189"/>
                    </a:lnTo>
                    <a:lnTo>
                      <a:pt x="78" y="187"/>
                    </a:lnTo>
                    <a:lnTo>
                      <a:pt x="73" y="187"/>
                    </a:lnTo>
                    <a:lnTo>
                      <a:pt x="73" y="189"/>
                    </a:lnTo>
                    <a:lnTo>
                      <a:pt x="71" y="189"/>
                    </a:lnTo>
                    <a:lnTo>
                      <a:pt x="66" y="189"/>
                    </a:lnTo>
                    <a:lnTo>
                      <a:pt x="63" y="192"/>
                    </a:lnTo>
                    <a:lnTo>
                      <a:pt x="63" y="197"/>
                    </a:lnTo>
                    <a:lnTo>
                      <a:pt x="64" y="208"/>
                    </a:lnTo>
                    <a:lnTo>
                      <a:pt x="64" y="213"/>
                    </a:lnTo>
                    <a:lnTo>
                      <a:pt x="64" y="218"/>
                    </a:lnTo>
                    <a:lnTo>
                      <a:pt x="63" y="223"/>
                    </a:lnTo>
                    <a:lnTo>
                      <a:pt x="63" y="230"/>
                    </a:lnTo>
                    <a:lnTo>
                      <a:pt x="61" y="233"/>
                    </a:lnTo>
                    <a:lnTo>
                      <a:pt x="61" y="238"/>
                    </a:lnTo>
                    <a:lnTo>
                      <a:pt x="61" y="246"/>
                    </a:lnTo>
                    <a:lnTo>
                      <a:pt x="61" y="251"/>
                    </a:lnTo>
                    <a:lnTo>
                      <a:pt x="61" y="256"/>
                    </a:lnTo>
                    <a:lnTo>
                      <a:pt x="61" y="264"/>
                    </a:lnTo>
                    <a:lnTo>
                      <a:pt x="61" y="266"/>
                    </a:lnTo>
                    <a:lnTo>
                      <a:pt x="60" y="266"/>
                    </a:lnTo>
                    <a:lnTo>
                      <a:pt x="61" y="266"/>
                    </a:lnTo>
                    <a:lnTo>
                      <a:pt x="60" y="273"/>
                    </a:lnTo>
                    <a:lnTo>
                      <a:pt x="61" y="277"/>
                    </a:lnTo>
                    <a:lnTo>
                      <a:pt x="61" y="286"/>
                    </a:lnTo>
                    <a:lnTo>
                      <a:pt x="63" y="287"/>
                    </a:lnTo>
                    <a:lnTo>
                      <a:pt x="63" y="289"/>
                    </a:lnTo>
                    <a:lnTo>
                      <a:pt x="66" y="294"/>
                    </a:lnTo>
                    <a:lnTo>
                      <a:pt x="68" y="294"/>
                    </a:lnTo>
                    <a:lnTo>
                      <a:pt x="71" y="297"/>
                    </a:lnTo>
                    <a:lnTo>
                      <a:pt x="74" y="299"/>
                    </a:lnTo>
                    <a:lnTo>
                      <a:pt x="81" y="300"/>
                    </a:lnTo>
                    <a:lnTo>
                      <a:pt x="87" y="302"/>
                    </a:lnTo>
                    <a:lnTo>
                      <a:pt x="97" y="302"/>
                    </a:lnTo>
                    <a:lnTo>
                      <a:pt x="102" y="300"/>
                    </a:lnTo>
                    <a:lnTo>
                      <a:pt x="102" y="299"/>
                    </a:lnTo>
                    <a:lnTo>
                      <a:pt x="101" y="297"/>
                    </a:lnTo>
                    <a:lnTo>
                      <a:pt x="104" y="297"/>
                    </a:lnTo>
                    <a:lnTo>
                      <a:pt x="102" y="296"/>
                    </a:lnTo>
                    <a:lnTo>
                      <a:pt x="104" y="297"/>
                    </a:lnTo>
                    <a:lnTo>
                      <a:pt x="106" y="299"/>
                    </a:lnTo>
                    <a:lnTo>
                      <a:pt x="109" y="299"/>
                    </a:lnTo>
                    <a:lnTo>
                      <a:pt x="107" y="300"/>
                    </a:lnTo>
                    <a:lnTo>
                      <a:pt x="106" y="299"/>
                    </a:lnTo>
                    <a:lnTo>
                      <a:pt x="106" y="300"/>
                    </a:lnTo>
                    <a:lnTo>
                      <a:pt x="107" y="300"/>
                    </a:lnTo>
                    <a:lnTo>
                      <a:pt x="109" y="300"/>
                    </a:lnTo>
                    <a:lnTo>
                      <a:pt x="110" y="296"/>
                    </a:lnTo>
                    <a:lnTo>
                      <a:pt x="110" y="300"/>
                    </a:lnTo>
                    <a:lnTo>
                      <a:pt x="112" y="300"/>
                    </a:lnTo>
                    <a:lnTo>
                      <a:pt x="110" y="300"/>
                    </a:lnTo>
                    <a:lnTo>
                      <a:pt x="109" y="300"/>
                    </a:lnTo>
                    <a:lnTo>
                      <a:pt x="107" y="300"/>
                    </a:lnTo>
                    <a:lnTo>
                      <a:pt x="106" y="300"/>
                    </a:lnTo>
                    <a:lnTo>
                      <a:pt x="106" y="299"/>
                    </a:lnTo>
                    <a:lnTo>
                      <a:pt x="104" y="299"/>
                    </a:lnTo>
                    <a:lnTo>
                      <a:pt x="102" y="300"/>
                    </a:lnTo>
                    <a:lnTo>
                      <a:pt x="101" y="302"/>
                    </a:lnTo>
                    <a:lnTo>
                      <a:pt x="102" y="300"/>
                    </a:lnTo>
                    <a:lnTo>
                      <a:pt x="99" y="302"/>
                    </a:lnTo>
                    <a:lnTo>
                      <a:pt x="99" y="304"/>
                    </a:lnTo>
                    <a:lnTo>
                      <a:pt x="101" y="304"/>
                    </a:lnTo>
                    <a:lnTo>
                      <a:pt x="102" y="302"/>
                    </a:lnTo>
                    <a:lnTo>
                      <a:pt x="102" y="304"/>
                    </a:lnTo>
                    <a:lnTo>
                      <a:pt x="104" y="302"/>
                    </a:lnTo>
                    <a:lnTo>
                      <a:pt x="104" y="300"/>
                    </a:lnTo>
                    <a:lnTo>
                      <a:pt x="104" y="302"/>
                    </a:lnTo>
                    <a:lnTo>
                      <a:pt x="106" y="302"/>
                    </a:lnTo>
                    <a:lnTo>
                      <a:pt x="107" y="302"/>
                    </a:lnTo>
                    <a:lnTo>
                      <a:pt x="106" y="302"/>
                    </a:lnTo>
                    <a:lnTo>
                      <a:pt x="104" y="302"/>
                    </a:lnTo>
                    <a:lnTo>
                      <a:pt x="104" y="304"/>
                    </a:lnTo>
                    <a:lnTo>
                      <a:pt x="106" y="302"/>
                    </a:lnTo>
                    <a:lnTo>
                      <a:pt x="104" y="304"/>
                    </a:lnTo>
                    <a:lnTo>
                      <a:pt x="106" y="304"/>
                    </a:lnTo>
                    <a:lnTo>
                      <a:pt x="107" y="302"/>
                    </a:lnTo>
                    <a:lnTo>
                      <a:pt x="106" y="304"/>
                    </a:lnTo>
                    <a:lnTo>
                      <a:pt x="115" y="304"/>
                    </a:lnTo>
                    <a:lnTo>
                      <a:pt x="115" y="300"/>
                    </a:lnTo>
                    <a:lnTo>
                      <a:pt x="115" y="304"/>
                    </a:lnTo>
                    <a:lnTo>
                      <a:pt x="117" y="302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22" y="302"/>
                    </a:lnTo>
                    <a:lnTo>
                      <a:pt x="124" y="300"/>
                    </a:lnTo>
                    <a:lnTo>
                      <a:pt x="129" y="300"/>
                    </a:lnTo>
                    <a:lnTo>
                      <a:pt x="130" y="300"/>
                    </a:lnTo>
                    <a:lnTo>
                      <a:pt x="130" y="292"/>
                    </a:lnTo>
                    <a:lnTo>
                      <a:pt x="132" y="299"/>
                    </a:lnTo>
                    <a:lnTo>
                      <a:pt x="135" y="299"/>
                    </a:lnTo>
                    <a:lnTo>
                      <a:pt x="143" y="296"/>
                    </a:lnTo>
                    <a:lnTo>
                      <a:pt x="143" y="294"/>
                    </a:lnTo>
                    <a:lnTo>
                      <a:pt x="143" y="296"/>
                    </a:lnTo>
                    <a:lnTo>
                      <a:pt x="150" y="292"/>
                    </a:lnTo>
                    <a:lnTo>
                      <a:pt x="148" y="292"/>
                    </a:lnTo>
                    <a:lnTo>
                      <a:pt x="150" y="292"/>
                    </a:lnTo>
                    <a:lnTo>
                      <a:pt x="153" y="292"/>
                    </a:lnTo>
                    <a:lnTo>
                      <a:pt x="155" y="291"/>
                    </a:lnTo>
                    <a:lnTo>
                      <a:pt x="155" y="289"/>
                    </a:lnTo>
                    <a:lnTo>
                      <a:pt x="153" y="286"/>
                    </a:lnTo>
                    <a:lnTo>
                      <a:pt x="152" y="286"/>
                    </a:lnTo>
                    <a:lnTo>
                      <a:pt x="153" y="286"/>
                    </a:lnTo>
                    <a:lnTo>
                      <a:pt x="155" y="284"/>
                    </a:lnTo>
                    <a:lnTo>
                      <a:pt x="153" y="286"/>
                    </a:lnTo>
                    <a:lnTo>
                      <a:pt x="152" y="286"/>
                    </a:lnTo>
                    <a:lnTo>
                      <a:pt x="153" y="286"/>
                    </a:lnTo>
                    <a:lnTo>
                      <a:pt x="155" y="289"/>
                    </a:lnTo>
                    <a:lnTo>
                      <a:pt x="155" y="291"/>
                    </a:lnTo>
                    <a:lnTo>
                      <a:pt x="163" y="289"/>
                    </a:lnTo>
                    <a:lnTo>
                      <a:pt x="166" y="289"/>
                    </a:lnTo>
                    <a:lnTo>
                      <a:pt x="160" y="291"/>
                    </a:lnTo>
                    <a:lnTo>
                      <a:pt x="160" y="294"/>
                    </a:lnTo>
                    <a:lnTo>
                      <a:pt x="160" y="291"/>
                    </a:lnTo>
                    <a:lnTo>
                      <a:pt x="143" y="296"/>
                    </a:lnTo>
                    <a:lnTo>
                      <a:pt x="145" y="299"/>
                    </a:lnTo>
                    <a:lnTo>
                      <a:pt x="140" y="300"/>
                    </a:lnTo>
                    <a:lnTo>
                      <a:pt x="140" y="302"/>
                    </a:lnTo>
                    <a:lnTo>
                      <a:pt x="140" y="300"/>
                    </a:lnTo>
                    <a:lnTo>
                      <a:pt x="143" y="299"/>
                    </a:lnTo>
                    <a:lnTo>
                      <a:pt x="143" y="297"/>
                    </a:lnTo>
                    <a:lnTo>
                      <a:pt x="133" y="300"/>
                    </a:lnTo>
                    <a:lnTo>
                      <a:pt x="132" y="302"/>
                    </a:lnTo>
                    <a:lnTo>
                      <a:pt x="135" y="304"/>
                    </a:lnTo>
                    <a:lnTo>
                      <a:pt x="135" y="302"/>
                    </a:lnTo>
                    <a:lnTo>
                      <a:pt x="138" y="300"/>
                    </a:lnTo>
                    <a:lnTo>
                      <a:pt x="137" y="302"/>
                    </a:lnTo>
                    <a:lnTo>
                      <a:pt x="135" y="305"/>
                    </a:lnTo>
                    <a:lnTo>
                      <a:pt x="138" y="304"/>
                    </a:lnTo>
                    <a:lnTo>
                      <a:pt x="135" y="305"/>
                    </a:lnTo>
                    <a:lnTo>
                      <a:pt x="138" y="307"/>
                    </a:lnTo>
                    <a:lnTo>
                      <a:pt x="142" y="304"/>
                    </a:lnTo>
                    <a:lnTo>
                      <a:pt x="138" y="309"/>
                    </a:lnTo>
                    <a:lnTo>
                      <a:pt x="142" y="310"/>
                    </a:lnTo>
                    <a:lnTo>
                      <a:pt x="140" y="310"/>
                    </a:lnTo>
                    <a:lnTo>
                      <a:pt x="142" y="314"/>
                    </a:lnTo>
                    <a:lnTo>
                      <a:pt x="143" y="312"/>
                    </a:lnTo>
                    <a:lnTo>
                      <a:pt x="143" y="314"/>
                    </a:lnTo>
                    <a:lnTo>
                      <a:pt x="142" y="314"/>
                    </a:lnTo>
                    <a:lnTo>
                      <a:pt x="142" y="322"/>
                    </a:lnTo>
                    <a:lnTo>
                      <a:pt x="138" y="323"/>
                    </a:lnTo>
                    <a:lnTo>
                      <a:pt x="142" y="330"/>
                    </a:lnTo>
                    <a:lnTo>
                      <a:pt x="143" y="330"/>
                    </a:lnTo>
                    <a:lnTo>
                      <a:pt x="145" y="330"/>
                    </a:lnTo>
                    <a:lnTo>
                      <a:pt x="142" y="330"/>
                    </a:lnTo>
                    <a:lnTo>
                      <a:pt x="140" y="328"/>
                    </a:lnTo>
                    <a:lnTo>
                      <a:pt x="138" y="323"/>
                    </a:lnTo>
                    <a:lnTo>
                      <a:pt x="140" y="322"/>
                    </a:lnTo>
                    <a:lnTo>
                      <a:pt x="142" y="322"/>
                    </a:lnTo>
                    <a:lnTo>
                      <a:pt x="142" y="314"/>
                    </a:lnTo>
                    <a:lnTo>
                      <a:pt x="138" y="309"/>
                    </a:lnTo>
                    <a:lnTo>
                      <a:pt x="132" y="304"/>
                    </a:lnTo>
                    <a:lnTo>
                      <a:pt x="124" y="304"/>
                    </a:lnTo>
                    <a:lnTo>
                      <a:pt x="125" y="304"/>
                    </a:lnTo>
                    <a:lnTo>
                      <a:pt x="120" y="304"/>
                    </a:lnTo>
                    <a:lnTo>
                      <a:pt x="120" y="307"/>
                    </a:lnTo>
                    <a:lnTo>
                      <a:pt x="120" y="304"/>
                    </a:lnTo>
                    <a:lnTo>
                      <a:pt x="119" y="307"/>
                    </a:lnTo>
                    <a:lnTo>
                      <a:pt x="119" y="304"/>
                    </a:lnTo>
                    <a:lnTo>
                      <a:pt x="117" y="305"/>
                    </a:lnTo>
                    <a:lnTo>
                      <a:pt x="115" y="307"/>
                    </a:lnTo>
                    <a:lnTo>
                      <a:pt x="117" y="309"/>
                    </a:lnTo>
                    <a:lnTo>
                      <a:pt x="114" y="307"/>
                    </a:lnTo>
                    <a:lnTo>
                      <a:pt x="114" y="309"/>
                    </a:lnTo>
                    <a:lnTo>
                      <a:pt x="115" y="310"/>
                    </a:lnTo>
                    <a:lnTo>
                      <a:pt x="114" y="309"/>
                    </a:lnTo>
                    <a:lnTo>
                      <a:pt x="114" y="307"/>
                    </a:lnTo>
                    <a:lnTo>
                      <a:pt x="114" y="305"/>
                    </a:lnTo>
                    <a:lnTo>
                      <a:pt x="112" y="307"/>
                    </a:lnTo>
                    <a:lnTo>
                      <a:pt x="114" y="309"/>
                    </a:lnTo>
                    <a:lnTo>
                      <a:pt x="115" y="310"/>
                    </a:lnTo>
                    <a:lnTo>
                      <a:pt x="115" y="312"/>
                    </a:lnTo>
                    <a:lnTo>
                      <a:pt x="117" y="312"/>
                    </a:lnTo>
                    <a:lnTo>
                      <a:pt x="115" y="314"/>
                    </a:lnTo>
                    <a:lnTo>
                      <a:pt x="117" y="315"/>
                    </a:lnTo>
                    <a:lnTo>
                      <a:pt x="117" y="317"/>
                    </a:lnTo>
                    <a:lnTo>
                      <a:pt x="112" y="309"/>
                    </a:lnTo>
                    <a:lnTo>
                      <a:pt x="110" y="309"/>
                    </a:lnTo>
                    <a:lnTo>
                      <a:pt x="110" y="307"/>
                    </a:lnTo>
                    <a:lnTo>
                      <a:pt x="106" y="309"/>
                    </a:lnTo>
                    <a:lnTo>
                      <a:pt x="110" y="312"/>
                    </a:lnTo>
                    <a:lnTo>
                      <a:pt x="109" y="312"/>
                    </a:lnTo>
                    <a:lnTo>
                      <a:pt x="110" y="315"/>
                    </a:lnTo>
                    <a:lnTo>
                      <a:pt x="106" y="310"/>
                    </a:lnTo>
                    <a:lnTo>
                      <a:pt x="106" y="314"/>
                    </a:lnTo>
                    <a:lnTo>
                      <a:pt x="106" y="309"/>
                    </a:lnTo>
                    <a:lnTo>
                      <a:pt x="104" y="309"/>
                    </a:lnTo>
                    <a:lnTo>
                      <a:pt x="104" y="312"/>
                    </a:lnTo>
                    <a:lnTo>
                      <a:pt x="102" y="307"/>
                    </a:lnTo>
                    <a:lnTo>
                      <a:pt x="99" y="315"/>
                    </a:lnTo>
                    <a:lnTo>
                      <a:pt x="101" y="315"/>
                    </a:lnTo>
                    <a:lnTo>
                      <a:pt x="99" y="317"/>
                    </a:lnTo>
                    <a:lnTo>
                      <a:pt x="101" y="315"/>
                    </a:lnTo>
                    <a:lnTo>
                      <a:pt x="102" y="319"/>
                    </a:lnTo>
                    <a:lnTo>
                      <a:pt x="106" y="320"/>
                    </a:lnTo>
                    <a:lnTo>
                      <a:pt x="102" y="320"/>
                    </a:lnTo>
                    <a:lnTo>
                      <a:pt x="101" y="317"/>
                    </a:lnTo>
                    <a:lnTo>
                      <a:pt x="96" y="320"/>
                    </a:lnTo>
                    <a:lnTo>
                      <a:pt x="99" y="320"/>
                    </a:lnTo>
                    <a:lnTo>
                      <a:pt x="97" y="322"/>
                    </a:lnTo>
                    <a:lnTo>
                      <a:pt x="101" y="322"/>
                    </a:lnTo>
                    <a:lnTo>
                      <a:pt x="97" y="323"/>
                    </a:lnTo>
                    <a:lnTo>
                      <a:pt x="101" y="325"/>
                    </a:lnTo>
                    <a:lnTo>
                      <a:pt x="97" y="322"/>
                    </a:lnTo>
                    <a:lnTo>
                      <a:pt x="96" y="323"/>
                    </a:lnTo>
                    <a:lnTo>
                      <a:pt x="96" y="325"/>
                    </a:lnTo>
                    <a:lnTo>
                      <a:pt x="94" y="327"/>
                    </a:lnTo>
                    <a:lnTo>
                      <a:pt x="94" y="328"/>
                    </a:lnTo>
                    <a:lnTo>
                      <a:pt x="94" y="327"/>
                    </a:lnTo>
                    <a:lnTo>
                      <a:pt x="91" y="327"/>
                    </a:lnTo>
                    <a:lnTo>
                      <a:pt x="92" y="327"/>
                    </a:lnTo>
                    <a:lnTo>
                      <a:pt x="92" y="323"/>
                    </a:lnTo>
                    <a:lnTo>
                      <a:pt x="89" y="325"/>
                    </a:lnTo>
                    <a:lnTo>
                      <a:pt x="89" y="328"/>
                    </a:lnTo>
                    <a:lnTo>
                      <a:pt x="87" y="328"/>
                    </a:lnTo>
                    <a:lnTo>
                      <a:pt x="91" y="332"/>
                    </a:lnTo>
                    <a:lnTo>
                      <a:pt x="87" y="328"/>
                    </a:lnTo>
                    <a:lnTo>
                      <a:pt x="74" y="350"/>
                    </a:lnTo>
                    <a:lnTo>
                      <a:pt x="69" y="353"/>
                    </a:lnTo>
                    <a:lnTo>
                      <a:pt x="66" y="360"/>
                    </a:lnTo>
                    <a:lnTo>
                      <a:pt x="58" y="376"/>
                    </a:lnTo>
                    <a:lnTo>
                      <a:pt x="50" y="389"/>
                    </a:lnTo>
                    <a:lnTo>
                      <a:pt x="48" y="393"/>
                    </a:lnTo>
                    <a:lnTo>
                      <a:pt x="45" y="402"/>
                    </a:lnTo>
                    <a:lnTo>
                      <a:pt x="43" y="409"/>
                    </a:lnTo>
                    <a:lnTo>
                      <a:pt x="45" y="417"/>
                    </a:lnTo>
                    <a:lnTo>
                      <a:pt x="51" y="421"/>
                    </a:lnTo>
                    <a:lnTo>
                      <a:pt x="53" y="425"/>
                    </a:lnTo>
                    <a:lnTo>
                      <a:pt x="56" y="429"/>
                    </a:lnTo>
                    <a:lnTo>
                      <a:pt x="58" y="425"/>
                    </a:lnTo>
                    <a:lnTo>
                      <a:pt x="58" y="435"/>
                    </a:lnTo>
                    <a:lnTo>
                      <a:pt x="58" y="439"/>
                    </a:lnTo>
                    <a:lnTo>
                      <a:pt x="64" y="452"/>
                    </a:lnTo>
                    <a:lnTo>
                      <a:pt x="64" y="453"/>
                    </a:lnTo>
                    <a:lnTo>
                      <a:pt x="68" y="460"/>
                    </a:lnTo>
                    <a:lnTo>
                      <a:pt x="66" y="462"/>
                    </a:lnTo>
                    <a:lnTo>
                      <a:pt x="68" y="463"/>
                    </a:lnTo>
                    <a:lnTo>
                      <a:pt x="71" y="468"/>
                    </a:lnTo>
                    <a:lnTo>
                      <a:pt x="73" y="467"/>
                    </a:lnTo>
                    <a:lnTo>
                      <a:pt x="78" y="478"/>
                    </a:lnTo>
                    <a:lnTo>
                      <a:pt x="79" y="490"/>
                    </a:lnTo>
                    <a:lnTo>
                      <a:pt x="79" y="493"/>
                    </a:lnTo>
                    <a:lnTo>
                      <a:pt x="81" y="494"/>
                    </a:lnTo>
                    <a:lnTo>
                      <a:pt x="81" y="496"/>
                    </a:lnTo>
                    <a:lnTo>
                      <a:pt x="83" y="499"/>
                    </a:lnTo>
                    <a:lnTo>
                      <a:pt x="84" y="503"/>
                    </a:lnTo>
                    <a:lnTo>
                      <a:pt x="86" y="508"/>
                    </a:lnTo>
                    <a:lnTo>
                      <a:pt x="92" y="514"/>
                    </a:lnTo>
                    <a:lnTo>
                      <a:pt x="96" y="516"/>
                    </a:lnTo>
                    <a:lnTo>
                      <a:pt x="99" y="519"/>
                    </a:lnTo>
                    <a:lnTo>
                      <a:pt x="104" y="522"/>
                    </a:lnTo>
                    <a:lnTo>
                      <a:pt x="107" y="526"/>
                    </a:lnTo>
                    <a:lnTo>
                      <a:pt x="112" y="529"/>
                    </a:lnTo>
                    <a:lnTo>
                      <a:pt x="115" y="534"/>
                    </a:lnTo>
                    <a:lnTo>
                      <a:pt x="132" y="542"/>
                    </a:lnTo>
                    <a:lnTo>
                      <a:pt x="138" y="542"/>
                    </a:lnTo>
                    <a:lnTo>
                      <a:pt x="142" y="541"/>
                    </a:lnTo>
                    <a:lnTo>
                      <a:pt x="143" y="539"/>
                    </a:lnTo>
                    <a:lnTo>
                      <a:pt x="155" y="545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82" name="Freeform 16">
                <a:extLst>
                  <a:ext uri="{FF2B5EF4-FFF2-40B4-BE49-F238E27FC236}">
                    <a16:creationId xmlns:a16="http://schemas.microsoft.com/office/drawing/2014/main" id="{F1ED0465-456F-4B83-BBD3-F51F44F8538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78237" y="2171699"/>
                <a:ext cx="1457325" cy="1150938"/>
              </a:xfrm>
              <a:custGeom>
                <a:avLst/>
                <a:gdLst>
                  <a:gd name="T0" fmla="*/ 596 w 918"/>
                  <a:gd name="T1" fmla="*/ 691 h 725"/>
                  <a:gd name="T2" fmla="*/ 599 w 918"/>
                  <a:gd name="T3" fmla="*/ 645 h 725"/>
                  <a:gd name="T4" fmla="*/ 593 w 918"/>
                  <a:gd name="T5" fmla="*/ 607 h 725"/>
                  <a:gd name="T6" fmla="*/ 596 w 918"/>
                  <a:gd name="T7" fmla="*/ 559 h 725"/>
                  <a:gd name="T8" fmla="*/ 645 w 918"/>
                  <a:gd name="T9" fmla="*/ 558 h 725"/>
                  <a:gd name="T10" fmla="*/ 694 w 918"/>
                  <a:gd name="T11" fmla="*/ 545 h 725"/>
                  <a:gd name="T12" fmla="*/ 713 w 918"/>
                  <a:gd name="T13" fmla="*/ 505 h 725"/>
                  <a:gd name="T14" fmla="*/ 762 w 918"/>
                  <a:gd name="T15" fmla="*/ 480 h 725"/>
                  <a:gd name="T16" fmla="*/ 790 w 918"/>
                  <a:gd name="T17" fmla="*/ 528 h 725"/>
                  <a:gd name="T18" fmla="*/ 836 w 918"/>
                  <a:gd name="T19" fmla="*/ 573 h 725"/>
                  <a:gd name="T20" fmla="*/ 865 w 918"/>
                  <a:gd name="T21" fmla="*/ 536 h 725"/>
                  <a:gd name="T22" fmla="*/ 809 w 918"/>
                  <a:gd name="T23" fmla="*/ 476 h 725"/>
                  <a:gd name="T24" fmla="*/ 711 w 918"/>
                  <a:gd name="T25" fmla="*/ 431 h 725"/>
                  <a:gd name="T26" fmla="*/ 617 w 918"/>
                  <a:gd name="T27" fmla="*/ 462 h 725"/>
                  <a:gd name="T28" fmla="*/ 621 w 918"/>
                  <a:gd name="T29" fmla="*/ 480 h 725"/>
                  <a:gd name="T30" fmla="*/ 570 w 918"/>
                  <a:gd name="T31" fmla="*/ 438 h 725"/>
                  <a:gd name="T32" fmla="*/ 563 w 918"/>
                  <a:gd name="T33" fmla="*/ 428 h 725"/>
                  <a:gd name="T34" fmla="*/ 565 w 918"/>
                  <a:gd name="T35" fmla="*/ 410 h 725"/>
                  <a:gd name="T36" fmla="*/ 629 w 918"/>
                  <a:gd name="T37" fmla="*/ 416 h 725"/>
                  <a:gd name="T38" fmla="*/ 686 w 918"/>
                  <a:gd name="T39" fmla="*/ 421 h 725"/>
                  <a:gd name="T40" fmla="*/ 759 w 918"/>
                  <a:gd name="T41" fmla="*/ 403 h 725"/>
                  <a:gd name="T42" fmla="*/ 818 w 918"/>
                  <a:gd name="T43" fmla="*/ 456 h 725"/>
                  <a:gd name="T44" fmla="*/ 903 w 918"/>
                  <a:gd name="T45" fmla="*/ 503 h 725"/>
                  <a:gd name="T46" fmla="*/ 809 w 918"/>
                  <a:gd name="T47" fmla="*/ 301 h 725"/>
                  <a:gd name="T48" fmla="*/ 829 w 918"/>
                  <a:gd name="T49" fmla="*/ 188 h 725"/>
                  <a:gd name="T50" fmla="*/ 775 w 918"/>
                  <a:gd name="T51" fmla="*/ 120 h 725"/>
                  <a:gd name="T52" fmla="*/ 729 w 918"/>
                  <a:gd name="T53" fmla="*/ 79 h 725"/>
                  <a:gd name="T54" fmla="*/ 714 w 918"/>
                  <a:gd name="T55" fmla="*/ 40 h 725"/>
                  <a:gd name="T56" fmla="*/ 644 w 918"/>
                  <a:gd name="T57" fmla="*/ 32 h 725"/>
                  <a:gd name="T58" fmla="*/ 581 w 918"/>
                  <a:gd name="T59" fmla="*/ 30 h 725"/>
                  <a:gd name="T60" fmla="*/ 492 w 918"/>
                  <a:gd name="T61" fmla="*/ 25 h 725"/>
                  <a:gd name="T62" fmla="*/ 432 w 918"/>
                  <a:gd name="T63" fmla="*/ 23 h 725"/>
                  <a:gd name="T64" fmla="*/ 448 w 918"/>
                  <a:gd name="T65" fmla="*/ 117 h 725"/>
                  <a:gd name="T66" fmla="*/ 448 w 918"/>
                  <a:gd name="T67" fmla="*/ 166 h 725"/>
                  <a:gd name="T68" fmla="*/ 418 w 918"/>
                  <a:gd name="T69" fmla="*/ 163 h 725"/>
                  <a:gd name="T70" fmla="*/ 381 w 918"/>
                  <a:gd name="T71" fmla="*/ 147 h 725"/>
                  <a:gd name="T72" fmla="*/ 318 w 918"/>
                  <a:gd name="T73" fmla="*/ 135 h 725"/>
                  <a:gd name="T74" fmla="*/ 295 w 918"/>
                  <a:gd name="T75" fmla="*/ 112 h 725"/>
                  <a:gd name="T76" fmla="*/ 266 w 918"/>
                  <a:gd name="T77" fmla="*/ 97 h 725"/>
                  <a:gd name="T78" fmla="*/ 157 w 918"/>
                  <a:gd name="T79" fmla="*/ 143 h 725"/>
                  <a:gd name="T80" fmla="*/ 95 w 918"/>
                  <a:gd name="T81" fmla="*/ 102 h 725"/>
                  <a:gd name="T82" fmla="*/ 26 w 918"/>
                  <a:gd name="T83" fmla="*/ 157 h 725"/>
                  <a:gd name="T84" fmla="*/ 0 w 918"/>
                  <a:gd name="T85" fmla="*/ 222 h 725"/>
                  <a:gd name="T86" fmla="*/ 47 w 918"/>
                  <a:gd name="T87" fmla="*/ 255 h 725"/>
                  <a:gd name="T88" fmla="*/ 101 w 918"/>
                  <a:gd name="T89" fmla="*/ 282 h 725"/>
                  <a:gd name="T90" fmla="*/ 136 w 918"/>
                  <a:gd name="T91" fmla="*/ 323 h 725"/>
                  <a:gd name="T92" fmla="*/ 115 w 918"/>
                  <a:gd name="T93" fmla="*/ 402 h 725"/>
                  <a:gd name="T94" fmla="*/ 142 w 918"/>
                  <a:gd name="T95" fmla="*/ 439 h 725"/>
                  <a:gd name="T96" fmla="*/ 185 w 918"/>
                  <a:gd name="T97" fmla="*/ 510 h 725"/>
                  <a:gd name="T98" fmla="*/ 234 w 918"/>
                  <a:gd name="T99" fmla="*/ 551 h 725"/>
                  <a:gd name="T100" fmla="*/ 267 w 918"/>
                  <a:gd name="T101" fmla="*/ 602 h 725"/>
                  <a:gd name="T102" fmla="*/ 294 w 918"/>
                  <a:gd name="T103" fmla="*/ 653 h 725"/>
                  <a:gd name="T104" fmla="*/ 330 w 918"/>
                  <a:gd name="T105" fmla="*/ 658 h 725"/>
                  <a:gd name="T106" fmla="*/ 358 w 918"/>
                  <a:gd name="T107" fmla="*/ 647 h 725"/>
                  <a:gd name="T108" fmla="*/ 392 w 918"/>
                  <a:gd name="T109" fmla="*/ 653 h 725"/>
                  <a:gd name="T110" fmla="*/ 430 w 918"/>
                  <a:gd name="T111" fmla="*/ 663 h 725"/>
                  <a:gd name="T112" fmla="*/ 441 w 918"/>
                  <a:gd name="T113" fmla="*/ 696 h 725"/>
                  <a:gd name="T114" fmla="*/ 506 w 918"/>
                  <a:gd name="T115" fmla="*/ 688 h 725"/>
                  <a:gd name="T116" fmla="*/ 573 w 918"/>
                  <a:gd name="T117" fmla="*/ 716 h 725"/>
                  <a:gd name="T118" fmla="*/ 565 w 918"/>
                  <a:gd name="T119" fmla="*/ 415 h 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18" h="725">
                    <a:moveTo>
                      <a:pt x="594" y="724"/>
                    </a:moveTo>
                    <a:lnTo>
                      <a:pt x="593" y="721"/>
                    </a:lnTo>
                    <a:lnTo>
                      <a:pt x="594" y="719"/>
                    </a:lnTo>
                    <a:lnTo>
                      <a:pt x="593" y="716"/>
                    </a:lnTo>
                    <a:lnTo>
                      <a:pt x="594" y="714"/>
                    </a:lnTo>
                    <a:lnTo>
                      <a:pt x="593" y="712"/>
                    </a:lnTo>
                    <a:lnTo>
                      <a:pt x="591" y="709"/>
                    </a:lnTo>
                    <a:lnTo>
                      <a:pt x="593" y="706"/>
                    </a:lnTo>
                    <a:lnTo>
                      <a:pt x="593" y="704"/>
                    </a:lnTo>
                    <a:lnTo>
                      <a:pt x="594" y="702"/>
                    </a:lnTo>
                    <a:lnTo>
                      <a:pt x="594" y="701"/>
                    </a:lnTo>
                    <a:lnTo>
                      <a:pt x="593" y="698"/>
                    </a:lnTo>
                    <a:lnTo>
                      <a:pt x="594" y="696"/>
                    </a:lnTo>
                    <a:lnTo>
                      <a:pt x="593" y="693"/>
                    </a:lnTo>
                    <a:lnTo>
                      <a:pt x="596" y="693"/>
                    </a:lnTo>
                    <a:lnTo>
                      <a:pt x="596" y="691"/>
                    </a:lnTo>
                    <a:lnTo>
                      <a:pt x="594" y="688"/>
                    </a:lnTo>
                    <a:lnTo>
                      <a:pt x="598" y="681"/>
                    </a:lnTo>
                    <a:lnTo>
                      <a:pt x="593" y="674"/>
                    </a:lnTo>
                    <a:lnTo>
                      <a:pt x="594" y="673"/>
                    </a:lnTo>
                    <a:lnTo>
                      <a:pt x="596" y="670"/>
                    </a:lnTo>
                    <a:lnTo>
                      <a:pt x="598" y="665"/>
                    </a:lnTo>
                    <a:lnTo>
                      <a:pt x="601" y="666"/>
                    </a:lnTo>
                    <a:lnTo>
                      <a:pt x="601" y="670"/>
                    </a:lnTo>
                    <a:lnTo>
                      <a:pt x="602" y="668"/>
                    </a:lnTo>
                    <a:lnTo>
                      <a:pt x="604" y="661"/>
                    </a:lnTo>
                    <a:lnTo>
                      <a:pt x="602" y="658"/>
                    </a:lnTo>
                    <a:lnTo>
                      <a:pt x="601" y="653"/>
                    </a:lnTo>
                    <a:lnTo>
                      <a:pt x="602" y="650"/>
                    </a:lnTo>
                    <a:lnTo>
                      <a:pt x="599" y="650"/>
                    </a:lnTo>
                    <a:lnTo>
                      <a:pt x="598" y="647"/>
                    </a:lnTo>
                    <a:lnTo>
                      <a:pt x="599" y="645"/>
                    </a:lnTo>
                    <a:lnTo>
                      <a:pt x="601" y="642"/>
                    </a:lnTo>
                    <a:lnTo>
                      <a:pt x="601" y="640"/>
                    </a:lnTo>
                    <a:lnTo>
                      <a:pt x="598" y="637"/>
                    </a:lnTo>
                    <a:lnTo>
                      <a:pt x="601" y="633"/>
                    </a:lnTo>
                    <a:lnTo>
                      <a:pt x="596" y="627"/>
                    </a:lnTo>
                    <a:lnTo>
                      <a:pt x="594" y="627"/>
                    </a:lnTo>
                    <a:lnTo>
                      <a:pt x="593" y="628"/>
                    </a:lnTo>
                    <a:lnTo>
                      <a:pt x="589" y="627"/>
                    </a:lnTo>
                    <a:lnTo>
                      <a:pt x="591" y="620"/>
                    </a:lnTo>
                    <a:lnTo>
                      <a:pt x="594" y="619"/>
                    </a:lnTo>
                    <a:lnTo>
                      <a:pt x="593" y="615"/>
                    </a:lnTo>
                    <a:lnTo>
                      <a:pt x="589" y="615"/>
                    </a:lnTo>
                    <a:lnTo>
                      <a:pt x="589" y="614"/>
                    </a:lnTo>
                    <a:lnTo>
                      <a:pt x="594" y="612"/>
                    </a:lnTo>
                    <a:lnTo>
                      <a:pt x="594" y="609"/>
                    </a:lnTo>
                    <a:lnTo>
                      <a:pt x="593" y="607"/>
                    </a:lnTo>
                    <a:lnTo>
                      <a:pt x="591" y="604"/>
                    </a:lnTo>
                    <a:lnTo>
                      <a:pt x="589" y="604"/>
                    </a:lnTo>
                    <a:lnTo>
                      <a:pt x="589" y="602"/>
                    </a:lnTo>
                    <a:lnTo>
                      <a:pt x="589" y="599"/>
                    </a:lnTo>
                    <a:lnTo>
                      <a:pt x="589" y="597"/>
                    </a:lnTo>
                    <a:lnTo>
                      <a:pt x="588" y="597"/>
                    </a:lnTo>
                    <a:lnTo>
                      <a:pt x="583" y="594"/>
                    </a:lnTo>
                    <a:lnTo>
                      <a:pt x="579" y="591"/>
                    </a:lnTo>
                    <a:lnTo>
                      <a:pt x="578" y="584"/>
                    </a:lnTo>
                    <a:lnTo>
                      <a:pt x="578" y="581"/>
                    </a:lnTo>
                    <a:lnTo>
                      <a:pt x="583" y="581"/>
                    </a:lnTo>
                    <a:lnTo>
                      <a:pt x="586" y="573"/>
                    </a:lnTo>
                    <a:lnTo>
                      <a:pt x="591" y="569"/>
                    </a:lnTo>
                    <a:lnTo>
                      <a:pt x="591" y="561"/>
                    </a:lnTo>
                    <a:lnTo>
                      <a:pt x="593" y="559"/>
                    </a:lnTo>
                    <a:lnTo>
                      <a:pt x="596" y="559"/>
                    </a:lnTo>
                    <a:lnTo>
                      <a:pt x="594" y="553"/>
                    </a:lnTo>
                    <a:lnTo>
                      <a:pt x="598" y="546"/>
                    </a:lnTo>
                    <a:lnTo>
                      <a:pt x="601" y="546"/>
                    </a:lnTo>
                    <a:lnTo>
                      <a:pt x="602" y="546"/>
                    </a:lnTo>
                    <a:lnTo>
                      <a:pt x="607" y="535"/>
                    </a:lnTo>
                    <a:lnTo>
                      <a:pt x="621" y="538"/>
                    </a:lnTo>
                    <a:lnTo>
                      <a:pt x="625" y="536"/>
                    </a:lnTo>
                    <a:lnTo>
                      <a:pt x="629" y="540"/>
                    </a:lnTo>
                    <a:lnTo>
                      <a:pt x="632" y="540"/>
                    </a:lnTo>
                    <a:lnTo>
                      <a:pt x="645" y="540"/>
                    </a:lnTo>
                    <a:lnTo>
                      <a:pt x="647" y="540"/>
                    </a:lnTo>
                    <a:lnTo>
                      <a:pt x="647" y="551"/>
                    </a:lnTo>
                    <a:lnTo>
                      <a:pt x="645" y="553"/>
                    </a:lnTo>
                    <a:lnTo>
                      <a:pt x="645" y="554"/>
                    </a:lnTo>
                    <a:lnTo>
                      <a:pt x="644" y="556"/>
                    </a:lnTo>
                    <a:lnTo>
                      <a:pt x="645" y="558"/>
                    </a:lnTo>
                    <a:lnTo>
                      <a:pt x="645" y="559"/>
                    </a:lnTo>
                    <a:lnTo>
                      <a:pt x="644" y="559"/>
                    </a:lnTo>
                    <a:lnTo>
                      <a:pt x="644" y="561"/>
                    </a:lnTo>
                    <a:lnTo>
                      <a:pt x="644" y="563"/>
                    </a:lnTo>
                    <a:lnTo>
                      <a:pt x="645" y="563"/>
                    </a:lnTo>
                    <a:lnTo>
                      <a:pt x="644" y="563"/>
                    </a:lnTo>
                    <a:lnTo>
                      <a:pt x="644" y="566"/>
                    </a:lnTo>
                    <a:lnTo>
                      <a:pt x="645" y="566"/>
                    </a:lnTo>
                    <a:lnTo>
                      <a:pt x="645" y="568"/>
                    </a:lnTo>
                    <a:lnTo>
                      <a:pt x="645" y="571"/>
                    </a:lnTo>
                    <a:lnTo>
                      <a:pt x="657" y="573"/>
                    </a:lnTo>
                    <a:lnTo>
                      <a:pt x="673" y="571"/>
                    </a:lnTo>
                    <a:lnTo>
                      <a:pt x="701" y="561"/>
                    </a:lnTo>
                    <a:lnTo>
                      <a:pt x="694" y="558"/>
                    </a:lnTo>
                    <a:lnTo>
                      <a:pt x="698" y="550"/>
                    </a:lnTo>
                    <a:lnTo>
                      <a:pt x="694" y="545"/>
                    </a:lnTo>
                    <a:lnTo>
                      <a:pt x="699" y="541"/>
                    </a:lnTo>
                    <a:lnTo>
                      <a:pt x="711" y="541"/>
                    </a:lnTo>
                    <a:lnTo>
                      <a:pt x="724" y="536"/>
                    </a:lnTo>
                    <a:lnTo>
                      <a:pt x="722" y="528"/>
                    </a:lnTo>
                    <a:lnTo>
                      <a:pt x="721" y="527"/>
                    </a:lnTo>
                    <a:lnTo>
                      <a:pt x="719" y="527"/>
                    </a:lnTo>
                    <a:lnTo>
                      <a:pt x="716" y="520"/>
                    </a:lnTo>
                    <a:lnTo>
                      <a:pt x="691" y="525"/>
                    </a:lnTo>
                    <a:lnTo>
                      <a:pt x="694" y="520"/>
                    </a:lnTo>
                    <a:lnTo>
                      <a:pt x="696" y="520"/>
                    </a:lnTo>
                    <a:lnTo>
                      <a:pt x="699" y="520"/>
                    </a:lnTo>
                    <a:lnTo>
                      <a:pt x="703" y="518"/>
                    </a:lnTo>
                    <a:lnTo>
                      <a:pt x="703" y="513"/>
                    </a:lnTo>
                    <a:lnTo>
                      <a:pt x="706" y="512"/>
                    </a:lnTo>
                    <a:lnTo>
                      <a:pt x="708" y="513"/>
                    </a:lnTo>
                    <a:lnTo>
                      <a:pt x="713" y="505"/>
                    </a:lnTo>
                    <a:lnTo>
                      <a:pt x="716" y="503"/>
                    </a:lnTo>
                    <a:lnTo>
                      <a:pt x="719" y="510"/>
                    </a:lnTo>
                    <a:lnTo>
                      <a:pt x="744" y="513"/>
                    </a:lnTo>
                    <a:lnTo>
                      <a:pt x="745" y="513"/>
                    </a:lnTo>
                    <a:lnTo>
                      <a:pt x="744" y="512"/>
                    </a:lnTo>
                    <a:lnTo>
                      <a:pt x="749" y="512"/>
                    </a:lnTo>
                    <a:lnTo>
                      <a:pt x="752" y="505"/>
                    </a:lnTo>
                    <a:lnTo>
                      <a:pt x="757" y="497"/>
                    </a:lnTo>
                    <a:lnTo>
                      <a:pt x="755" y="497"/>
                    </a:lnTo>
                    <a:lnTo>
                      <a:pt x="757" y="494"/>
                    </a:lnTo>
                    <a:lnTo>
                      <a:pt x="759" y="494"/>
                    </a:lnTo>
                    <a:lnTo>
                      <a:pt x="760" y="494"/>
                    </a:lnTo>
                    <a:lnTo>
                      <a:pt x="760" y="490"/>
                    </a:lnTo>
                    <a:lnTo>
                      <a:pt x="759" y="479"/>
                    </a:lnTo>
                    <a:lnTo>
                      <a:pt x="760" y="479"/>
                    </a:lnTo>
                    <a:lnTo>
                      <a:pt x="762" y="480"/>
                    </a:lnTo>
                    <a:lnTo>
                      <a:pt x="763" y="480"/>
                    </a:lnTo>
                    <a:lnTo>
                      <a:pt x="765" y="482"/>
                    </a:lnTo>
                    <a:lnTo>
                      <a:pt x="765" y="480"/>
                    </a:lnTo>
                    <a:lnTo>
                      <a:pt x="767" y="485"/>
                    </a:lnTo>
                    <a:lnTo>
                      <a:pt x="772" y="489"/>
                    </a:lnTo>
                    <a:lnTo>
                      <a:pt x="775" y="490"/>
                    </a:lnTo>
                    <a:lnTo>
                      <a:pt x="777" y="492"/>
                    </a:lnTo>
                    <a:lnTo>
                      <a:pt x="780" y="492"/>
                    </a:lnTo>
                    <a:lnTo>
                      <a:pt x="778" y="497"/>
                    </a:lnTo>
                    <a:lnTo>
                      <a:pt x="783" y="495"/>
                    </a:lnTo>
                    <a:lnTo>
                      <a:pt x="788" y="507"/>
                    </a:lnTo>
                    <a:lnTo>
                      <a:pt x="791" y="505"/>
                    </a:lnTo>
                    <a:lnTo>
                      <a:pt x="798" y="505"/>
                    </a:lnTo>
                    <a:lnTo>
                      <a:pt x="801" y="510"/>
                    </a:lnTo>
                    <a:lnTo>
                      <a:pt x="790" y="527"/>
                    </a:lnTo>
                    <a:lnTo>
                      <a:pt x="790" y="528"/>
                    </a:lnTo>
                    <a:lnTo>
                      <a:pt x="793" y="528"/>
                    </a:lnTo>
                    <a:lnTo>
                      <a:pt x="791" y="531"/>
                    </a:lnTo>
                    <a:lnTo>
                      <a:pt x="795" y="541"/>
                    </a:lnTo>
                    <a:lnTo>
                      <a:pt x="793" y="554"/>
                    </a:lnTo>
                    <a:lnTo>
                      <a:pt x="800" y="556"/>
                    </a:lnTo>
                    <a:lnTo>
                      <a:pt x="803" y="566"/>
                    </a:lnTo>
                    <a:lnTo>
                      <a:pt x="813" y="568"/>
                    </a:lnTo>
                    <a:lnTo>
                      <a:pt x="811" y="569"/>
                    </a:lnTo>
                    <a:lnTo>
                      <a:pt x="813" y="573"/>
                    </a:lnTo>
                    <a:lnTo>
                      <a:pt x="816" y="582"/>
                    </a:lnTo>
                    <a:lnTo>
                      <a:pt x="819" y="582"/>
                    </a:lnTo>
                    <a:lnTo>
                      <a:pt x="819" y="584"/>
                    </a:lnTo>
                    <a:lnTo>
                      <a:pt x="823" y="584"/>
                    </a:lnTo>
                    <a:lnTo>
                      <a:pt x="824" y="586"/>
                    </a:lnTo>
                    <a:lnTo>
                      <a:pt x="837" y="576"/>
                    </a:lnTo>
                    <a:lnTo>
                      <a:pt x="836" y="573"/>
                    </a:lnTo>
                    <a:lnTo>
                      <a:pt x="829" y="564"/>
                    </a:lnTo>
                    <a:lnTo>
                      <a:pt x="834" y="559"/>
                    </a:lnTo>
                    <a:lnTo>
                      <a:pt x="832" y="554"/>
                    </a:lnTo>
                    <a:lnTo>
                      <a:pt x="841" y="553"/>
                    </a:lnTo>
                    <a:lnTo>
                      <a:pt x="841" y="550"/>
                    </a:lnTo>
                    <a:lnTo>
                      <a:pt x="842" y="540"/>
                    </a:lnTo>
                    <a:lnTo>
                      <a:pt x="842" y="536"/>
                    </a:lnTo>
                    <a:lnTo>
                      <a:pt x="844" y="535"/>
                    </a:lnTo>
                    <a:lnTo>
                      <a:pt x="847" y="535"/>
                    </a:lnTo>
                    <a:lnTo>
                      <a:pt x="851" y="535"/>
                    </a:lnTo>
                    <a:lnTo>
                      <a:pt x="852" y="538"/>
                    </a:lnTo>
                    <a:lnTo>
                      <a:pt x="852" y="540"/>
                    </a:lnTo>
                    <a:lnTo>
                      <a:pt x="857" y="536"/>
                    </a:lnTo>
                    <a:lnTo>
                      <a:pt x="859" y="536"/>
                    </a:lnTo>
                    <a:lnTo>
                      <a:pt x="860" y="538"/>
                    </a:lnTo>
                    <a:lnTo>
                      <a:pt x="865" y="536"/>
                    </a:lnTo>
                    <a:lnTo>
                      <a:pt x="872" y="531"/>
                    </a:lnTo>
                    <a:lnTo>
                      <a:pt x="870" y="527"/>
                    </a:lnTo>
                    <a:lnTo>
                      <a:pt x="867" y="523"/>
                    </a:lnTo>
                    <a:lnTo>
                      <a:pt x="860" y="515"/>
                    </a:lnTo>
                    <a:lnTo>
                      <a:pt x="859" y="515"/>
                    </a:lnTo>
                    <a:lnTo>
                      <a:pt x="857" y="510"/>
                    </a:lnTo>
                    <a:lnTo>
                      <a:pt x="854" y="507"/>
                    </a:lnTo>
                    <a:lnTo>
                      <a:pt x="852" y="507"/>
                    </a:lnTo>
                    <a:lnTo>
                      <a:pt x="849" y="502"/>
                    </a:lnTo>
                    <a:lnTo>
                      <a:pt x="844" y="499"/>
                    </a:lnTo>
                    <a:lnTo>
                      <a:pt x="842" y="499"/>
                    </a:lnTo>
                    <a:lnTo>
                      <a:pt x="839" y="502"/>
                    </a:lnTo>
                    <a:lnTo>
                      <a:pt x="834" y="499"/>
                    </a:lnTo>
                    <a:lnTo>
                      <a:pt x="828" y="494"/>
                    </a:lnTo>
                    <a:lnTo>
                      <a:pt x="821" y="487"/>
                    </a:lnTo>
                    <a:lnTo>
                      <a:pt x="809" y="476"/>
                    </a:lnTo>
                    <a:lnTo>
                      <a:pt x="795" y="466"/>
                    </a:lnTo>
                    <a:lnTo>
                      <a:pt x="780" y="446"/>
                    </a:lnTo>
                    <a:lnTo>
                      <a:pt x="775" y="434"/>
                    </a:lnTo>
                    <a:lnTo>
                      <a:pt x="772" y="434"/>
                    </a:lnTo>
                    <a:lnTo>
                      <a:pt x="773" y="433"/>
                    </a:lnTo>
                    <a:lnTo>
                      <a:pt x="770" y="425"/>
                    </a:lnTo>
                    <a:lnTo>
                      <a:pt x="763" y="420"/>
                    </a:lnTo>
                    <a:lnTo>
                      <a:pt x="749" y="421"/>
                    </a:lnTo>
                    <a:lnTo>
                      <a:pt x="739" y="426"/>
                    </a:lnTo>
                    <a:lnTo>
                      <a:pt x="734" y="428"/>
                    </a:lnTo>
                    <a:lnTo>
                      <a:pt x="729" y="428"/>
                    </a:lnTo>
                    <a:lnTo>
                      <a:pt x="729" y="431"/>
                    </a:lnTo>
                    <a:lnTo>
                      <a:pt x="727" y="428"/>
                    </a:lnTo>
                    <a:lnTo>
                      <a:pt x="724" y="429"/>
                    </a:lnTo>
                    <a:lnTo>
                      <a:pt x="711" y="429"/>
                    </a:lnTo>
                    <a:lnTo>
                      <a:pt x="711" y="431"/>
                    </a:lnTo>
                    <a:lnTo>
                      <a:pt x="711" y="429"/>
                    </a:lnTo>
                    <a:lnTo>
                      <a:pt x="708" y="429"/>
                    </a:lnTo>
                    <a:lnTo>
                      <a:pt x="701" y="429"/>
                    </a:lnTo>
                    <a:lnTo>
                      <a:pt x="694" y="434"/>
                    </a:lnTo>
                    <a:lnTo>
                      <a:pt x="690" y="439"/>
                    </a:lnTo>
                    <a:lnTo>
                      <a:pt x="681" y="441"/>
                    </a:lnTo>
                    <a:lnTo>
                      <a:pt x="673" y="441"/>
                    </a:lnTo>
                    <a:lnTo>
                      <a:pt x="662" y="431"/>
                    </a:lnTo>
                    <a:lnTo>
                      <a:pt x="660" y="433"/>
                    </a:lnTo>
                    <a:lnTo>
                      <a:pt x="662" y="431"/>
                    </a:lnTo>
                    <a:lnTo>
                      <a:pt x="652" y="420"/>
                    </a:lnTo>
                    <a:lnTo>
                      <a:pt x="637" y="426"/>
                    </a:lnTo>
                    <a:lnTo>
                      <a:pt x="622" y="431"/>
                    </a:lnTo>
                    <a:lnTo>
                      <a:pt x="625" y="444"/>
                    </a:lnTo>
                    <a:lnTo>
                      <a:pt x="622" y="456"/>
                    </a:lnTo>
                    <a:lnTo>
                      <a:pt x="617" y="462"/>
                    </a:lnTo>
                    <a:lnTo>
                      <a:pt x="617" y="467"/>
                    </a:lnTo>
                    <a:lnTo>
                      <a:pt x="617" y="472"/>
                    </a:lnTo>
                    <a:lnTo>
                      <a:pt x="621" y="479"/>
                    </a:lnTo>
                    <a:lnTo>
                      <a:pt x="619" y="484"/>
                    </a:lnTo>
                    <a:lnTo>
                      <a:pt x="611" y="484"/>
                    </a:lnTo>
                    <a:lnTo>
                      <a:pt x="609" y="489"/>
                    </a:lnTo>
                    <a:lnTo>
                      <a:pt x="607" y="492"/>
                    </a:lnTo>
                    <a:lnTo>
                      <a:pt x="611" y="497"/>
                    </a:lnTo>
                    <a:lnTo>
                      <a:pt x="609" y="500"/>
                    </a:lnTo>
                    <a:lnTo>
                      <a:pt x="609" y="497"/>
                    </a:lnTo>
                    <a:lnTo>
                      <a:pt x="607" y="492"/>
                    </a:lnTo>
                    <a:lnTo>
                      <a:pt x="607" y="489"/>
                    </a:lnTo>
                    <a:lnTo>
                      <a:pt x="609" y="485"/>
                    </a:lnTo>
                    <a:lnTo>
                      <a:pt x="612" y="482"/>
                    </a:lnTo>
                    <a:lnTo>
                      <a:pt x="617" y="484"/>
                    </a:lnTo>
                    <a:lnTo>
                      <a:pt x="621" y="480"/>
                    </a:lnTo>
                    <a:lnTo>
                      <a:pt x="616" y="474"/>
                    </a:lnTo>
                    <a:lnTo>
                      <a:pt x="616" y="467"/>
                    </a:lnTo>
                    <a:lnTo>
                      <a:pt x="616" y="461"/>
                    </a:lnTo>
                    <a:lnTo>
                      <a:pt x="621" y="456"/>
                    </a:lnTo>
                    <a:lnTo>
                      <a:pt x="624" y="444"/>
                    </a:lnTo>
                    <a:lnTo>
                      <a:pt x="621" y="438"/>
                    </a:lnTo>
                    <a:lnTo>
                      <a:pt x="621" y="431"/>
                    </a:lnTo>
                    <a:lnTo>
                      <a:pt x="617" y="431"/>
                    </a:lnTo>
                    <a:lnTo>
                      <a:pt x="621" y="431"/>
                    </a:lnTo>
                    <a:lnTo>
                      <a:pt x="621" y="429"/>
                    </a:lnTo>
                    <a:lnTo>
                      <a:pt x="611" y="426"/>
                    </a:lnTo>
                    <a:lnTo>
                      <a:pt x="604" y="426"/>
                    </a:lnTo>
                    <a:lnTo>
                      <a:pt x="594" y="431"/>
                    </a:lnTo>
                    <a:lnTo>
                      <a:pt x="581" y="426"/>
                    </a:lnTo>
                    <a:lnTo>
                      <a:pt x="576" y="428"/>
                    </a:lnTo>
                    <a:lnTo>
                      <a:pt x="570" y="438"/>
                    </a:lnTo>
                    <a:lnTo>
                      <a:pt x="568" y="438"/>
                    </a:lnTo>
                    <a:lnTo>
                      <a:pt x="565" y="436"/>
                    </a:lnTo>
                    <a:lnTo>
                      <a:pt x="565" y="434"/>
                    </a:lnTo>
                    <a:lnTo>
                      <a:pt x="561" y="431"/>
                    </a:lnTo>
                    <a:lnTo>
                      <a:pt x="560" y="431"/>
                    </a:lnTo>
                    <a:lnTo>
                      <a:pt x="556" y="431"/>
                    </a:lnTo>
                    <a:lnTo>
                      <a:pt x="555" y="431"/>
                    </a:lnTo>
                    <a:lnTo>
                      <a:pt x="555" y="433"/>
                    </a:lnTo>
                    <a:lnTo>
                      <a:pt x="553" y="433"/>
                    </a:lnTo>
                    <a:lnTo>
                      <a:pt x="548" y="434"/>
                    </a:lnTo>
                    <a:lnTo>
                      <a:pt x="553" y="433"/>
                    </a:lnTo>
                    <a:lnTo>
                      <a:pt x="555" y="431"/>
                    </a:lnTo>
                    <a:lnTo>
                      <a:pt x="556" y="431"/>
                    </a:lnTo>
                    <a:lnTo>
                      <a:pt x="560" y="431"/>
                    </a:lnTo>
                    <a:lnTo>
                      <a:pt x="563" y="431"/>
                    </a:lnTo>
                    <a:lnTo>
                      <a:pt x="563" y="428"/>
                    </a:lnTo>
                    <a:lnTo>
                      <a:pt x="565" y="425"/>
                    </a:lnTo>
                    <a:lnTo>
                      <a:pt x="570" y="423"/>
                    </a:lnTo>
                    <a:lnTo>
                      <a:pt x="570" y="421"/>
                    </a:lnTo>
                    <a:lnTo>
                      <a:pt x="570" y="413"/>
                    </a:lnTo>
                    <a:lnTo>
                      <a:pt x="566" y="410"/>
                    </a:lnTo>
                    <a:lnTo>
                      <a:pt x="565" y="415"/>
                    </a:lnTo>
                    <a:lnTo>
                      <a:pt x="558" y="415"/>
                    </a:lnTo>
                    <a:lnTo>
                      <a:pt x="555" y="413"/>
                    </a:lnTo>
                    <a:lnTo>
                      <a:pt x="548" y="413"/>
                    </a:lnTo>
                    <a:lnTo>
                      <a:pt x="550" y="416"/>
                    </a:lnTo>
                    <a:lnTo>
                      <a:pt x="550" y="418"/>
                    </a:lnTo>
                    <a:lnTo>
                      <a:pt x="548" y="413"/>
                    </a:lnTo>
                    <a:lnTo>
                      <a:pt x="547" y="411"/>
                    </a:lnTo>
                    <a:lnTo>
                      <a:pt x="555" y="411"/>
                    </a:lnTo>
                    <a:lnTo>
                      <a:pt x="560" y="415"/>
                    </a:lnTo>
                    <a:lnTo>
                      <a:pt x="565" y="410"/>
                    </a:lnTo>
                    <a:lnTo>
                      <a:pt x="570" y="411"/>
                    </a:lnTo>
                    <a:lnTo>
                      <a:pt x="571" y="420"/>
                    </a:lnTo>
                    <a:lnTo>
                      <a:pt x="571" y="423"/>
                    </a:lnTo>
                    <a:lnTo>
                      <a:pt x="566" y="426"/>
                    </a:lnTo>
                    <a:lnTo>
                      <a:pt x="565" y="426"/>
                    </a:lnTo>
                    <a:lnTo>
                      <a:pt x="563" y="431"/>
                    </a:lnTo>
                    <a:lnTo>
                      <a:pt x="568" y="436"/>
                    </a:lnTo>
                    <a:lnTo>
                      <a:pt x="576" y="426"/>
                    </a:lnTo>
                    <a:lnTo>
                      <a:pt x="581" y="425"/>
                    </a:lnTo>
                    <a:lnTo>
                      <a:pt x="588" y="426"/>
                    </a:lnTo>
                    <a:lnTo>
                      <a:pt x="593" y="429"/>
                    </a:lnTo>
                    <a:lnTo>
                      <a:pt x="598" y="428"/>
                    </a:lnTo>
                    <a:lnTo>
                      <a:pt x="609" y="425"/>
                    </a:lnTo>
                    <a:lnTo>
                      <a:pt x="622" y="426"/>
                    </a:lnTo>
                    <a:lnTo>
                      <a:pt x="625" y="423"/>
                    </a:lnTo>
                    <a:lnTo>
                      <a:pt x="629" y="416"/>
                    </a:lnTo>
                    <a:lnTo>
                      <a:pt x="644" y="411"/>
                    </a:lnTo>
                    <a:lnTo>
                      <a:pt x="650" y="410"/>
                    </a:lnTo>
                    <a:lnTo>
                      <a:pt x="647" y="410"/>
                    </a:lnTo>
                    <a:lnTo>
                      <a:pt x="644" y="411"/>
                    </a:lnTo>
                    <a:lnTo>
                      <a:pt x="645" y="410"/>
                    </a:lnTo>
                    <a:lnTo>
                      <a:pt x="645" y="408"/>
                    </a:lnTo>
                    <a:lnTo>
                      <a:pt x="645" y="410"/>
                    </a:lnTo>
                    <a:lnTo>
                      <a:pt x="647" y="410"/>
                    </a:lnTo>
                    <a:lnTo>
                      <a:pt x="648" y="410"/>
                    </a:lnTo>
                    <a:lnTo>
                      <a:pt x="650" y="410"/>
                    </a:lnTo>
                    <a:lnTo>
                      <a:pt x="655" y="411"/>
                    </a:lnTo>
                    <a:lnTo>
                      <a:pt x="662" y="413"/>
                    </a:lnTo>
                    <a:lnTo>
                      <a:pt x="670" y="421"/>
                    </a:lnTo>
                    <a:lnTo>
                      <a:pt x="673" y="423"/>
                    </a:lnTo>
                    <a:lnTo>
                      <a:pt x="676" y="423"/>
                    </a:lnTo>
                    <a:lnTo>
                      <a:pt x="686" y="421"/>
                    </a:lnTo>
                    <a:lnTo>
                      <a:pt x="704" y="418"/>
                    </a:lnTo>
                    <a:lnTo>
                      <a:pt x="709" y="420"/>
                    </a:lnTo>
                    <a:lnTo>
                      <a:pt x="714" y="420"/>
                    </a:lnTo>
                    <a:lnTo>
                      <a:pt x="714" y="418"/>
                    </a:lnTo>
                    <a:lnTo>
                      <a:pt x="716" y="418"/>
                    </a:lnTo>
                    <a:lnTo>
                      <a:pt x="719" y="416"/>
                    </a:lnTo>
                    <a:lnTo>
                      <a:pt x="727" y="415"/>
                    </a:lnTo>
                    <a:lnTo>
                      <a:pt x="742" y="410"/>
                    </a:lnTo>
                    <a:lnTo>
                      <a:pt x="747" y="406"/>
                    </a:lnTo>
                    <a:lnTo>
                      <a:pt x="750" y="405"/>
                    </a:lnTo>
                    <a:lnTo>
                      <a:pt x="750" y="402"/>
                    </a:lnTo>
                    <a:lnTo>
                      <a:pt x="749" y="398"/>
                    </a:lnTo>
                    <a:lnTo>
                      <a:pt x="752" y="402"/>
                    </a:lnTo>
                    <a:lnTo>
                      <a:pt x="750" y="406"/>
                    </a:lnTo>
                    <a:lnTo>
                      <a:pt x="755" y="405"/>
                    </a:lnTo>
                    <a:lnTo>
                      <a:pt x="759" y="403"/>
                    </a:lnTo>
                    <a:lnTo>
                      <a:pt x="770" y="405"/>
                    </a:lnTo>
                    <a:lnTo>
                      <a:pt x="778" y="408"/>
                    </a:lnTo>
                    <a:lnTo>
                      <a:pt x="780" y="406"/>
                    </a:lnTo>
                    <a:lnTo>
                      <a:pt x="782" y="405"/>
                    </a:lnTo>
                    <a:lnTo>
                      <a:pt x="780" y="405"/>
                    </a:lnTo>
                    <a:lnTo>
                      <a:pt x="782" y="405"/>
                    </a:lnTo>
                    <a:lnTo>
                      <a:pt x="782" y="411"/>
                    </a:lnTo>
                    <a:lnTo>
                      <a:pt x="785" y="411"/>
                    </a:lnTo>
                    <a:lnTo>
                      <a:pt x="785" y="408"/>
                    </a:lnTo>
                    <a:lnTo>
                      <a:pt x="785" y="411"/>
                    </a:lnTo>
                    <a:lnTo>
                      <a:pt x="783" y="413"/>
                    </a:lnTo>
                    <a:lnTo>
                      <a:pt x="786" y="423"/>
                    </a:lnTo>
                    <a:lnTo>
                      <a:pt x="793" y="428"/>
                    </a:lnTo>
                    <a:lnTo>
                      <a:pt x="806" y="441"/>
                    </a:lnTo>
                    <a:lnTo>
                      <a:pt x="806" y="444"/>
                    </a:lnTo>
                    <a:lnTo>
                      <a:pt x="818" y="456"/>
                    </a:lnTo>
                    <a:lnTo>
                      <a:pt x="819" y="457"/>
                    </a:lnTo>
                    <a:lnTo>
                      <a:pt x="821" y="457"/>
                    </a:lnTo>
                    <a:lnTo>
                      <a:pt x="823" y="461"/>
                    </a:lnTo>
                    <a:lnTo>
                      <a:pt x="831" y="467"/>
                    </a:lnTo>
                    <a:lnTo>
                      <a:pt x="847" y="471"/>
                    </a:lnTo>
                    <a:lnTo>
                      <a:pt x="849" y="469"/>
                    </a:lnTo>
                    <a:lnTo>
                      <a:pt x="872" y="461"/>
                    </a:lnTo>
                    <a:lnTo>
                      <a:pt x="867" y="456"/>
                    </a:lnTo>
                    <a:lnTo>
                      <a:pt x="874" y="461"/>
                    </a:lnTo>
                    <a:lnTo>
                      <a:pt x="878" y="459"/>
                    </a:lnTo>
                    <a:lnTo>
                      <a:pt x="895" y="464"/>
                    </a:lnTo>
                    <a:lnTo>
                      <a:pt x="903" y="469"/>
                    </a:lnTo>
                    <a:lnTo>
                      <a:pt x="915" y="479"/>
                    </a:lnTo>
                    <a:lnTo>
                      <a:pt x="918" y="484"/>
                    </a:lnTo>
                    <a:lnTo>
                      <a:pt x="918" y="489"/>
                    </a:lnTo>
                    <a:lnTo>
                      <a:pt x="903" y="503"/>
                    </a:lnTo>
                    <a:lnTo>
                      <a:pt x="915" y="494"/>
                    </a:lnTo>
                    <a:lnTo>
                      <a:pt x="918" y="489"/>
                    </a:lnTo>
                    <a:lnTo>
                      <a:pt x="918" y="484"/>
                    </a:lnTo>
                    <a:lnTo>
                      <a:pt x="911" y="459"/>
                    </a:lnTo>
                    <a:lnTo>
                      <a:pt x="905" y="448"/>
                    </a:lnTo>
                    <a:lnTo>
                      <a:pt x="892" y="428"/>
                    </a:lnTo>
                    <a:lnTo>
                      <a:pt x="882" y="415"/>
                    </a:lnTo>
                    <a:lnTo>
                      <a:pt x="880" y="413"/>
                    </a:lnTo>
                    <a:lnTo>
                      <a:pt x="877" y="408"/>
                    </a:lnTo>
                    <a:lnTo>
                      <a:pt x="874" y="402"/>
                    </a:lnTo>
                    <a:lnTo>
                      <a:pt x="867" y="393"/>
                    </a:lnTo>
                    <a:lnTo>
                      <a:pt x="851" y="370"/>
                    </a:lnTo>
                    <a:lnTo>
                      <a:pt x="831" y="341"/>
                    </a:lnTo>
                    <a:lnTo>
                      <a:pt x="813" y="308"/>
                    </a:lnTo>
                    <a:lnTo>
                      <a:pt x="811" y="305"/>
                    </a:lnTo>
                    <a:lnTo>
                      <a:pt x="809" y="301"/>
                    </a:lnTo>
                    <a:lnTo>
                      <a:pt x="806" y="290"/>
                    </a:lnTo>
                    <a:lnTo>
                      <a:pt x="800" y="273"/>
                    </a:lnTo>
                    <a:lnTo>
                      <a:pt x="793" y="249"/>
                    </a:lnTo>
                    <a:lnTo>
                      <a:pt x="793" y="247"/>
                    </a:lnTo>
                    <a:lnTo>
                      <a:pt x="791" y="245"/>
                    </a:lnTo>
                    <a:lnTo>
                      <a:pt x="791" y="232"/>
                    </a:lnTo>
                    <a:lnTo>
                      <a:pt x="793" y="211"/>
                    </a:lnTo>
                    <a:lnTo>
                      <a:pt x="795" y="208"/>
                    </a:lnTo>
                    <a:lnTo>
                      <a:pt x="798" y="203"/>
                    </a:lnTo>
                    <a:lnTo>
                      <a:pt x="801" y="203"/>
                    </a:lnTo>
                    <a:lnTo>
                      <a:pt x="801" y="201"/>
                    </a:lnTo>
                    <a:lnTo>
                      <a:pt x="801" y="199"/>
                    </a:lnTo>
                    <a:lnTo>
                      <a:pt x="805" y="194"/>
                    </a:lnTo>
                    <a:lnTo>
                      <a:pt x="808" y="191"/>
                    </a:lnTo>
                    <a:lnTo>
                      <a:pt x="816" y="188"/>
                    </a:lnTo>
                    <a:lnTo>
                      <a:pt x="829" y="188"/>
                    </a:lnTo>
                    <a:lnTo>
                      <a:pt x="839" y="181"/>
                    </a:lnTo>
                    <a:lnTo>
                      <a:pt x="834" y="173"/>
                    </a:lnTo>
                    <a:lnTo>
                      <a:pt x="831" y="171"/>
                    </a:lnTo>
                    <a:lnTo>
                      <a:pt x="829" y="173"/>
                    </a:lnTo>
                    <a:lnTo>
                      <a:pt x="828" y="171"/>
                    </a:lnTo>
                    <a:lnTo>
                      <a:pt x="826" y="171"/>
                    </a:lnTo>
                    <a:lnTo>
                      <a:pt x="816" y="165"/>
                    </a:lnTo>
                    <a:lnTo>
                      <a:pt x="806" y="160"/>
                    </a:lnTo>
                    <a:lnTo>
                      <a:pt x="791" y="155"/>
                    </a:lnTo>
                    <a:lnTo>
                      <a:pt x="785" y="153"/>
                    </a:lnTo>
                    <a:lnTo>
                      <a:pt x="773" y="143"/>
                    </a:lnTo>
                    <a:lnTo>
                      <a:pt x="767" y="134"/>
                    </a:lnTo>
                    <a:lnTo>
                      <a:pt x="767" y="129"/>
                    </a:lnTo>
                    <a:lnTo>
                      <a:pt x="768" y="120"/>
                    </a:lnTo>
                    <a:lnTo>
                      <a:pt x="770" y="119"/>
                    </a:lnTo>
                    <a:lnTo>
                      <a:pt x="775" y="120"/>
                    </a:lnTo>
                    <a:lnTo>
                      <a:pt x="765" y="115"/>
                    </a:lnTo>
                    <a:lnTo>
                      <a:pt x="760" y="114"/>
                    </a:lnTo>
                    <a:lnTo>
                      <a:pt x="757" y="112"/>
                    </a:lnTo>
                    <a:lnTo>
                      <a:pt x="755" y="109"/>
                    </a:lnTo>
                    <a:lnTo>
                      <a:pt x="749" y="107"/>
                    </a:lnTo>
                    <a:lnTo>
                      <a:pt x="749" y="106"/>
                    </a:lnTo>
                    <a:lnTo>
                      <a:pt x="744" y="106"/>
                    </a:lnTo>
                    <a:lnTo>
                      <a:pt x="739" y="102"/>
                    </a:lnTo>
                    <a:lnTo>
                      <a:pt x="737" y="97"/>
                    </a:lnTo>
                    <a:lnTo>
                      <a:pt x="734" y="92"/>
                    </a:lnTo>
                    <a:lnTo>
                      <a:pt x="731" y="89"/>
                    </a:lnTo>
                    <a:lnTo>
                      <a:pt x="727" y="86"/>
                    </a:lnTo>
                    <a:lnTo>
                      <a:pt x="727" y="83"/>
                    </a:lnTo>
                    <a:lnTo>
                      <a:pt x="727" y="81"/>
                    </a:lnTo>
                    <a:lnTo>
                      <a:pt x="729" y="81"/>
                    </a:lnTo>
                    <a:lnTo>
                      <a:pt x="729" y="79"/>
                    </a:lnTo>
                    <a:lnTo>
                      <a:pt x="731" y="81"/>
                    </a:lnTo>
                    <a:lnTo>
                      <a:pt x="732" y="78"/>
                    </a:lnTo>
                    <a:lnTo>
                      <a:pt x="731" y="76"/>
                    </a:lnTo>
                    <a:lnTo>
                      <a:pt x="729" y="76"/>
                    </a:lnTo>
                    <a:lnTo>
                      <a:pt x="727" y="78"/>
                    </a:lnTo>
                    <a:lnTo>
                      <a:pt x="724" y="76"/>
                    </a:lnTo>
                    <a:lnTo>
                      <a:pt x="722" y="71"/>
                    </a:lnTo>
                    <a:lnTo>
                      <a:pt x="722" y="68"/>
                    </a:lnTo>
                    <a:lnTo>
                      <a:pt x="724" y="66"/>
                    </a:lnTo>
                    <a:lnTo>
                      <a:pt x="719" y="63"/>
                    </a:lnTo>
                    <a:lnTo>
                      <a:pt x="719" y="58"/>
                    </a:lnTo>
                    <a:lnTo>
                      <a:pt x="719" y="55"/>
                    </a:lnTo>
                    <a:lnTo>
                      <a:pt x="721" y="51"/>
                    </a:lnTo>
                    <a:lnTo>
                      <a:pt x="717" y="46"/>
                    </a:lnTo>
                    <a:lnTo>
                      <a:pt x="714" y="46"/>
                    </a:lnTo>
                    <a:lnTo>
                      <a:pt x="714" y="40"/>
                    </a:lnTo>
                    <a:lnTo>
                      <a:pt x="709" y="35"/>
                    </a:lnTo>
                    <a:lnTo>
                      <a:pt x="709" y="27"/>
                    </a:lnTo>
                    <a:lnTo>
                      <a:pt x="701" y="12"/>
                    </a:lnTo>
                    <a:lnTo>
                      <a:pt x="694" y="5"/>
                    </a:lnTo>
                    <a:lnTo>
                      <a:pt x="690" y="5"/>
                    </a:lnTo>
                    <a:lnTo>
                      <a:pt x="690" y="10"/>
                    </a:lnTo>
                    <a:lnTo>
                      <a:pt x="688" y="17"/>
                    </a:lnTo>
                    <a:lnTo>
                      <a:pt x="683" y="20"/>
                    </a:lnTo>
                    <a:lnTo>
                      <a:pt x="680" y="20"/>
                    </a:lnTo>
                    <a:lnTo>
                      <a:pt x="676" y="23"/>
                    </a:lnTo>
                    <a:lnTo>
                      <a:pt x="675" y="28"/>
                    </a:lnTo>
                    <a:lnTo>
                      <a:pt x="667" y="30"/>
                    </a:lnTo>
                    <a:lnTo>
                      <a:pt x="660" y="28"/>
                    </a:lnTo>
                    <a:lnTo>
                      <a:pt x="660" y="33"/>
                    </a:lnTo>
                    <a:lnTo>
                      <a:pt x="648" y="28"/>
                    </a:lnTo>
                    <a:lnTo>
                      <a:pt x="644" y="32"/>
                    </a:lnTo>
                    <a:lnTo>
                      <a:pt x="645" y="23"/>
                    </a:lnTo>
                    <a:lnTo>
                      <a:pt x="634" y="30"/>
                    </a:lnTo>
                    <a:lnTo>
                      <a:pt x="634" y="27"/>
                    </a:lnTo>
                    <a:lnTo>
                      <a:pt x="629" y="25"/>
                    </a:lnTo>
                    <a:lnTo>
                      <a:pt x="625" y="27"/>
                    </a:lnTo>
                    <a:lnTo>
                      <a:pt x="624" y="30"/>
                    </a:lnTo>
                    <a:lnTo>
                      <a:pt x="619" y="32"/>
                    </a:lnTo>
                    <a:lnTo>
                      <a:pt x="617" y="35"/>
                    </a:lnTo>
                    <a:lnTo>
                      <a:pt x="607" y="37"/>
                    </a:lnTo>
                    <a:lnTo>
                      <a:pt x="604" y="32"/>
                    </a:lnTo>
                    <a:lnTo>
                      <a:pt x="602" y="28"/>
                    </a:lnTo>
                    <a:lnTo>
                      <a:pt x="601" y="32"/>
                    </a:lnTo>
                    <a:lnTo>
                      <a:pt x="594" y="35"/>
                    </a:lnTo>
                    <a:lnTo>
                      <a:pt x="589" y="38"/>
                    </a:lnTo>
                    <a:lnTo>
                      <a:pt x="583" y="33"/>
                    </a:lnTo>
                    <a:lnTo>
                      <a:pt x="581" y="30"/>
                    </a:lnTo>
                    <a:lnTo>
                      <a:pt x="578" y="20"/>
                    </a:lnTo>
                    <a:lnTo>
                      <a:pt x="573" y="22"/>
                    </a:lnTo>
                    <a:lnTo>
                      <a:pt x="563" y="17"/>
                    </a:lnTo>
                    <a:lnTo>
                      <a:pt x="538" y="7"/>
                    </a:lnTo>
                    <a:lnTo>
                      <a:pt x="533" y="4"/>
                    </a:lnTo>
                    <a:lnTo>
                      <a:pt x="524" y="12"/>
                    </a:lnTo>
                    <a:lnTo>
                      <a:pt x="520" y="12"/>
                    </a:lnTo>
                    <a:lnTo>
                      <a:pt x="512" y="5"/>
                    </a:lnTo>
                    <a:lnTo>
                      <a:pt x="510" y="4"/>
                    </a:lnTo>
                    <a:lnTo>
                      <a:pt x="506" y="0"/>
                    </a:lnTo>
                    <a:lnTo>
                      <a:pt x="494" y="2"/>
                    </a:lnTo>
                    <a:lnTo>
                      <a:pt x="491" y="7"/>
                    </a:lnTo>
                    <a:lnTo>
                      <a:pt x="487" y="7"/>
                    </a:lnTo>
                    <a:lnTo>
                      <a:pt x="491" y="12"/>
                    </a:lnTo>
                    <a:lnTo>
                      <a:pt x="487" y="17"/>
                    </a:lnTo>
                    <a:lnTo>
                      <a:pt x="492" y="25"/>
                    </a:lnTo>
                    <a:lnTo>
                      <a:pt x="492" y="32"/>
                    </a:lnTo>
                    <a:lnTo>
                      <a:pt x="487" y="33"/>
                    </a:lnTo>
                    <a:lnTo>
                      <a:pt x="481" y="53"/>
                    </a:lnTo>
                    <a:lnTo>
                      <a:pt x="474" y="53"/>
                    </a:lnTo>
                    <a:lnTo>
                      <a:pt x="473" y="51"/>
                    </a:lnTo>
                    <a:lnTo>
                      <a:pt x="474" y="46"/>
                    </a:lnTo>
                    <a:lnTo>
                      <a:pt x="473" y="43"/>
                    </a:lnTo>
                    <a:lnTo>
                      <a:pt x="469" y="43"/>
                    </a:lnTo>
                    <a:lnTo>
                      <a:pt x="464" y="40"/>
                    </a:lnTo>
                    <a:lnTo>
                      <a:pt x="460" y="40"/>
                    </a:lnTo>
                    <a:lnTo>
                      <a:pt x="458" y="27"/>
                    </a:lnTo>
                    <a:lnTo>
                      <a:pt x="455" y="20"/>
                    </a:lnTo>
                    <a:lnTo>
                      <a:pt x="451" y="23"/>
                    </a:lnTo>
                    <a:lnTo>
                      <a:pt x="441" y="25"/>
                    </a:lnTo>
                    <a:lnTo>
                      <a:pt x="437" y="23"/>
                    </a:lnTo>
                    <a:lnTo>
                      <a:pt x="432" y="23"/>
                    </a:lnTo>
                    <a:lnTo>
                      <a:pt x="430" y="28"/>
                    </a:lnTo>
                    <a:lnTo>
                      <a:pt x="427" y="38"/>
                    </a:lnTo>
                    <a:lnTo>
                      <a:pt x="422" y="38"/>
                    </a:lnTo>
                    <a:lnTo>
                      <a:pt x="422" y="43"/>
                    </a:lnTo>
                    <a:lnTo>
                      <a:pt x="425" y="48"/>
                    </a:lnTo>
                    <a:lnTo>
                      <a:pt x="428" y="51"/>
                    </a:lnTo>
                    <a:lnTo>
                      <a:pt x="428" y="63"/>
                    </a:lnTo>
                    <a:lnTo>
                      <a:pt x="432" y="68"/>
                    </a:lnTo>
                    <a:lnTo>
                      <a:pt x="438" y="78"/>
                    </a:lnTo>
                    <a:lnTo>
                      <a:pt x="443" y="99"/>
                    </a:lnTo>
                    <a:lnTo>
                      <a:pt x="440" y="101"/>
                    </a:lnTo>
                    <a:lnTo>
                      <a:pt x="440" y="106"/>
                    </a:lnTo>
                    <a:lnTo>
                      <a:pt x="443" y="109"/>
                    </a:lnTo>
                    <a:lnTo>
                      <a:pt x="446" y="106"/>
                    </a:lnTo>
                    <a:lnTo>
                      <a:pt x="446" y="114"/>
                    </a:lnTo>
                    <a:lnTo>
                      <a:pt x="448" y="117"/>
                    </a:lnTo>
                    <a:lnTo>
                      <a:pt x="445" y="120"/>
                    </a:lnTo>
                    <a:lnTo>
                      <a:pt x="445" y="122"/>
                    </a:lnTo>
                    <a:lnTo>
                      <a:pt x="450" y="125"/>
                    </a:lnTo>
                    <a:lnTo>
                      <a:pt x="450" y="130"/>
                    </a:lnTo>
                    <a:lnTo>
                      <a:pt x="456" y="129"/>
                    </a:lnTo>
                    <a:lnTo>
                      <a:pt x="468" y="137"/>
                    </a:lnTo>
                    <a:lnTo>
                      <a:pt x="471" y="142"/>
                    </a:lnTo>
                    <a:lnTo>
                      <a:pt x="468" y="147"/>
                    </a:lnTo>
                    <a:lnTo>
                      <a:pt x="471" y="152"/>
                    </a:lnTo>
                    <a:lnTo>
                      <a:pt x="466" y="157"/>
                    </a:lnTo>
                    <a:lnTo>
                      <a:pt x="469" y="160"/>
                    </a:lnTo>
                    <a:lnTo>
                      <a:pt x="468" y="163"/>
                    </a:lnTo>
                    <a:lnTo>
                      <a:pt x="461" y="161"/>
                    </a:lnTo>
                    <a:lnTo>
                      <a:pt x="458" y="163"/>
                    </a:lnTo>
                    <a:lnTo>
                      <a:pt x="451" y="163"/>
                    </a:lnTo>
                    <a:lnTo>
                      <a:pt x="448" y="166"/>
                    </a:lnTo>
                    <a:lnTo>
                      <a:pt x="445" y="165"/>
                    </a:lnTo>
                    <a:lnTo>
                      <a:pt x="438" y="168"/>
                    </a:lnTo>
                    <a:lnTo>
                      <a:pt x="438" y="163"/>
                    </a:lnTo>
                    <a:lnTo>
                      <a:pt x="435" y="157"/>
                    </a:lnTo>
                    <a:lnTo>
                      <a:pt x="435" y="150"/>
                    </a:lnTo>
                    <a:lnTo>
                      <a:pt x="432" y="145"/>
                    </a:lnTo>
                    <a:lnTo>
                      <a:pt x="428" y="145"/>
                    </a:lnTo>
                    <a:lnTo>
                      <a:pt x="428" y="137"/>
                    </a:lnTo>
                    <a:lnTo>
                      <a:pt x="423" y="137"/>
                    </a:lnTo>
                    <a:lnTo>
                      <a:pt x="422" y="142"/>
                    </a:lnTo>
                    <a:lnTo>
                      <a:pt x="420" y="147"/>
                    </a:lnTo>
                    <a:lnTo>
                      <a:pt x="425" y="150"/>
                    </a:lnTo>
                    <a:lnTo>
                      <a:pt x="425" y="158"/>
                    </a:lnTo>
                    <a:lnTo>
                      <a:pt x="423" y="160"/>
                    </a:lnTo>
                    <a:lnTo>
                      <a:pt x="420" y="160"/>
                    </a:lnTo>
                    <a:lnTo>
                      <a:pt x="418" y="163"/>
                    </a:lnTo>
                    <a:lnTo>
                      <a:pt x="407" y="157"/>
                    </a:lnTo>
                    <a:lnTo>
                      <a:pt x="402" y="158"/>
                    </a:lnTo>
                    <a:lnTo>
                      <a:pt x="402" y="155"/>
                    </a:lnTo>
                    <a:lnTo>
                      <a:pt x="400" y="157"/>
                    </a:lnTo>
                    <a:lnTo>
                      <a:pt x="399" y="155"/>
                    </a:lnTo>
                    <a:lnTo>
                      <a:pt x="395" y="157"/>
                    </a:lnTo>
                    <a:lnTo>
                      <a:pt x="397" y="158"/>
                    </a:lnTo>
                    <a:lnTo>
                      <a:pt x="392" y="158"/>
                    </a:lnTo>
                    <a:lnTo>
                      <a:pt x="394" y="157"/>
                    </a:lnTo>
                    <a:lnTo>
                      <a:pt x="392" y="155"/>
                    </a:lnTo>
                    <a:lnTo>
                      <a:pt x="394" y="155"/>
                    </a:lnTo>
                    <a:lnTo>
                      <a:pt x="392" y="153"/>
                    </a:lnTo>
                    <a:lnTo>
                      <a:pt x="391" y="153"/>
                    </a:lnTo>
                    <a:lnTo>
                      <a:pt x="389" y="150"/>
                    </a:lnTo>
                    <a:lnTo>
                      <a:pt x="382" y="148"/>
                    </a:lnTo>
                    <a:lnTo>
                      <a:pt x="381" y="147"/>
                    </a:lnTo>
                    <a:lnTo>
                      <a:pt x="379" y="145"/>
                    </a:lnTo>
                    <a:lnTo>
                      <a:pt x="379" y="142"/>
                    </a:lnTo>
                    <a:lnTo>
                      <a:pt x="376" y="142"/>
                    </a:lnTo>
                    <a:lnTo>
                      <a:pt x="364" y="138"/>
                    </a:lnTo>
                    <a:lnTo>
                      <a:pt x="361" y="135"/>
                    </a:lnTo>
                    <a:lnTo>
                      <a:pt x="363" y="130"/>
                    </a:lnTo>
                    <a:lnTo>
                      <a:pt x="359" y="122"/>
                    </a:lnTo>
                    <a:lnTo>
                      <a:pt x="359" y="120"/>
                    </a:lnTo>
                    <a:lnTo>
                      <a:pt x="349" y="127"/>
                    </a:lnTo>
                    <a:lnTo>
                      <a:pt x="345" y="117"/>
                    </a:lnTo>
                    <a:lnTo>
                      <a:pt x="343" y="119"/>
                    </a:lnTo>
                    <a:lnTo>
                      <a:pt x="341" y="129"/>
                    </a:lnTo>
                    <a:lnTo>
                      <a:pt x="340" y="127"/>
                    </a:lnTo>
                    <a:lnTo>
                      <a:pt x="330" y="134"/>
                    </a:lnTo>
                    <a:lnTo>
                      <a:pt x="325" y="134"/>
                    </a:lnTo>
                    <a:lnTo>
                      <a:pt x="318" y="135"/>
                    </a:lnTo>
                    <a:lnTo>
                      <a:pt x="317" y="130"/>
                    </a:lnTo>
                    <a:lnTo>
                      <a:pt x="312" y="127"/>
                    </a:lnTo>
                    <a:lnTo>
                      <a:pt x="305" y="130"/>
                    </a:lnTo>
                    <a:lnTo>
                      <a:pt x="305" y="132"/>
                    </a:lnTo>
                    <a:lnTo>
                      <a:pt x="308" y="132"/>
                    </a:lnTo>
                    <a:lnTo>
                      <a:pt x="307" y="135"/>
                    </a:lnTo>
                    <a:lnTo>
                      <a:pt x="303" y="135"/>
                    </a:lnTo>
                    <a:lnTo>
                      <a:pt x="297" y="138"/>
                    </a:lnTo>
                    <a:lnTo>
                      <a:pt x="295" y="137"/>
                    </a:lnTo>
                    <a:lnTo>
                      <a:pt x="294" y="137"/>
                    </a:lnTo>
                    <a:lnTo>
                      <a:pt x="292" y="137"/>
                    </a:lnTo>
                    <a:lnTo>
                      <a:pt x="290" y="135"/>
                    </a:lnTo>
                    <a:lnTo>
                      <a:pt x="294" y="132"/>
                    </a:lnTo>
                    <a:lnTo>
                      <a:pt x="295" y="127"/>
                    </a:lnTo>
                    <a:lnTo>
                      <a:pt x="297" y="119"/>
                    </a:lnTo>
                    <a:lnTo>
                      <a:pt x="295" y="112"/>
                    </a:lnTo>
                    <a:lnTo>
                      <a:pt x="292" y="112"/>
                    </a:lnTo>
                    <a:lnTo>
                      <a:pt x="289" y="107"/>
                    </a:lnTo>
                    <a:lnTo>
                      <a:pt x="292" y="106"/>
                    </a:lnTo>
                    <a:lnTo>
                      <a:pt x="287" y="101"/>
                    </a:lnTo>
                    <a:lnTo>
                      <a:pt x="282" y="102"/>
                    </a:lnTo>
                    <a:lnTo>
                      <a:pt x="280" y="99"/>
                    </a:lnTo>
                    <a:lnTo>
                      <a:pt x="279" y="99"/>
                    </a:lnTo>
                    <a:lnTo>
                      <a:pt x="280" y="102"/>
                    </a:lnTo>
                    <a:lnTo>
                      <a:pt x="279" y="101"/>
                    </a:lnTo>
                    <a:lnTo>
                      <a:pt x="276" y="94"/>
                    </a:lnTo>
                    <a:lnTo>
                      <a:pt x="276" y="92"/>
                    </a:lnTo>
                    <a:lnTo>
                      <a:pt x="274" y="94"/>
                    </a:lnTo>
                    <a:lnTo>
                      <a:pt x="271" y="96"/>
                    </a:lnTo>
                    <a:lnTo>
                      <a:pt x="269" y="94"/>
                    </a:lnTo>
                    <a:lnTo>
                      <a:pt x="267" y="94"/>
                    </a:lnTo>
                    <a:lnTo>
                      <a:pt x="266" y="97"/>
                    </a:lnTo>
                    <a:lnTo>
                      <a:pt x="264" y="96"/>
                    </a:lnTo>
                    <a:lnTo>
                      <a:pt x="257" y="97"/>
                    </a:lnTo>
                    <a:lnTo>
                      <a:pt x="256" y="101"/>
                    </a:lnTo>
                    <a:lnTo>
                      <a:pt x="251" y="107"/>
                    </a:lnTo>
                    <a:lnTo>
                      <a:pt x="226" y="102"/>
                    </a:lnTo>
                    <a:lnTo>
                      <a:pt x="230" y="106"/>
                    </a:lnTo>
                    <a:lnTo>
                      <a:pt x="225" y="111"/>
                    </a:lnTo>
                    <a:lnTo>
                      <a:pt x="207" y="117"/>
                    </a:lnTo>
                    <a:lnTo>
                      <a:pt x="205" y="124"/>
                    </a:lnTo>
                    <a:lnTo>
                      <a:pt x="202" y="124"/>
                    </a:lnTo>
                    <a:lnTo>
                      <a:pt x="192" y="130"/>
                    </a:lnTo>
                    <a:lnTo>
                      <a:pt x="185" y="130"/>
                    </a:lnTo>
                    <a:lnTo>
                      <a:pt x="172" y="137"/>
                    </a:lnTo>
                    <a:lnTo>
                      <a:pt x="162" y="147"/>
                    </a:lnTo>
                    <a:lnTo>
                      <a:pt x="159" y="147"/>
                    </a:lnTo>
                    <a:lnTo>
                      <a:pt x="157" y="143"/>
                    </a:lnTo>
                    <a:lnTo>
                      <a:pt x="152" y="145"/>
                    </a:lnTo>
                    <a:lnTo>
                      <a:pt x="152" y="142"/>
                    </a:lnTo>
                    <a:lnTo>
                      <a:pt x="149" y="142"/>
                    </a:lnTo>
                    <a:lnTo>
                      <a:pt x="146" y="134"/>
                    </a:lnTo>
                    <a:lnTo>
                      <a:pt x="144" y="132"/>
                    </a:lnTo>
                    <a:lnTo>
                      <a:pt x="142" y="124"/>
                    </a:lnTo>
                    <a:lnTo>
                      <a:pt x="134" y="117"/>
                    </a:lnTo>
                    <a:lnTo>
                      <a:pt x="129" y="111"/>
                    </a:lnTo>
                    <a:lnTo>
                      <a:pt x="124" y="111"/>
                    </a:lnTo>
                    <a:lnTo>
                      <a:pt x="119" y="115"/>
                    </a:lnTo>
                    <a:lnTo>
                      <a:pt x="115" y="115"/>
                    </a:lnTo>
                    <a:lnTo>
                      <a:pt x="115" y="109"/>
                    </a:lnTo>
                    <a:lnTo>
                      <a:pt x="111" y="111"/>
                    </a:lnTo>
                    <a:lnTo>
                      <a:pt x="111" y="109"/>
                    </a:lnTo>
                    <a:lnTo>
                      <a:pt x="105" y="112"/>
                    </a:lnTo>
                    <a:lnTo>
                      <a:pt x="95" y="102"/>
                    </a:lnTo>
                    <a:lnTo>
                      <a:pt x="87" y="99"/>
                    </a:lnTo>
                    <a:lnTo>
                      <a:pt x="77" y="101"/>
                    </a:lnTo>
                    <a:lnTo>
                      <a:pt x="72" y="102"/>
                    </a:lnTo>
                    <a:lnTo>
                      <a:pt x="65" y="107"/>
                    </a:lnTo>
                    <a:lnTo>
                      <a:pt x="64" y="106"/>
                    </a:lnTo>
                    <a:lnTo>
                      <a:pt x="60" y="112"/>
                    </a:lnTo>
                    <a:lnTo>
                      <a:pt x="52" y="114"/>
                    </a:lnTo>
                    <a:lnTo>
                      <a:pt x="50" y="119"/>
                    </a:lnTo>
                    <a:lnTo>
                      <a:pt x="42" y="125"/>
                    </a:lnTo>
                    <a:lnTo>
                      <a:pt x="47" y="127"/>
                    </a:lnTo>
                    <a:lnTo>
                      <a:pt x="49" y="132"/>
                    </a:lnTo>
                    <a:lnTo>
                      <a:pt x="44" y="129"/>
                    </a:lnTo>
                    <a:lnTo>
                      <a:pt x="34" y="140"/>
                    </a:lnTo>
                    <a:lnTo>
                      <a:pt x="32" y="147"/>
                    </a:lnTo>
                    <a:lnTo>
                      <a:pt x="26" y="150"/>
                    </a:lnTo>
                    <a:lnTo>
                      <a:pt x="26" y="157"/>
                    </a:lnTo>
                    <a:lnTo>
                      <a:pt x="19" y="161"/>
                    </a:lnTo>
                    <a:lnTo>
                      <a:pt x="16" y="166"/>
                    </a:lnTo>
                    <a:lnTo>
                      <a:pt x="14" y="168"/>
                    </a:lnTo>
                    <a:lnTo>
                      <a:pt x="14" y="171"/>
                    </a:lnTo>
                    <a:lnTo>
                      <a:pt x="13" y="171"/>
                    </a:lnTo>
                    <a:lnTo>
                      <a:pt x="11" y="173"/>
                    </a:lnTo>
                    <a:lnTo>
                      <a:pt x="8" y="173"/>
                    </a:lnTo>
                    <a:lnTo>
                      <a:pt x="6" y="175"/>
                    </a:lnTo>
                    <a:lnTo>
                      <a:pt x="4" y="185"/>
                    </a:lnTo>
                    <a:lnTo>
                      <a:pt x="6" y="188"/>
                    </a:lnTo>
                    <a:lnTo>
                      <a:pt x="4" y="189"/>
                    </a:lnTo>
                    <a:lnTo>
                      <a:pt x="8" y="193"/>
                    </a:lnTo>
                    <a:lnTo>
                      <a:pt x="4" y="194"/>
                    </a:lnTo>
                    <a:lnTo>
                      <a:pt x="1" y="204"/>
                    </a:lnTo>
                    <a:lnTo>
                      <a:pt x="1" y="214"/>
                    </a:lnTo>
                    <a:lnTo>
                      <a:pt x="0" y="222"/>
                    </a:lnTo>
                    <a:lnTo>
                      <a:pt x="3" y="226"/>
                    </a:lnTo>
                    <a:lnTo>
                      <a:pt x="13" y="226"/>
                    </a:lnTo>
                    <a:lnTo>
                      <a:pt x="14" y="227"/>
                    </a:lnTo>
                    <a:lnTo>
                      <a:pt x="32" y="221"/>
                    </a:lnTo>
                    <a:lnTo>
                      <a:pt x="34" y="222"/>
                    </a:lnTo>
                    <a:lnTo>
                      <a:pt x="36" y="224"/>
                    </a:lnTo>
                    <a:lnTo>
                      <a:pt x="37" y="226"/>
                    </a:lnTo>
                    <a:lnTo>
                      <a:pt x="39" y="239"/>
                    </a:lnTo>
                    <a:lnTo>
                      <a:pt x="44" y="239"/>
                    </a:lnTo>
                    <a:lnTo>
                      <a:pt x="46" y="244"/>
                    </a:lnTo>
                    <a:lnTo>
                      <a:pt x="46" y="245"/>
                    </a:lnTo>
                    <a:lnTo>
                      <a:pt x="42" y="242"/>
                    </a:lnTo>
                    <a:lnTo>
                      <a:pt x="41" y="244"/>
                    </a:lnTo>
                    <a:lnTo>
                      <a:pt x="41" y="254"/>
                    </a:lnTo>
                    <a:lnTo>
                      <a:pt x="46" y="257"/>
                    </a:lnTo>
                    <a:lnTo>
                      <a:pt x="47" y="255"/>
                    </a:lnTo>
                    <a:lnTo>
                      <a:pt x="52" y="254"/>
                    </a:lnTo>
                    <a:lnTo>
                      <a:pt x="60" y="262"/>
                    </a:lnTo>
                    <a:lnTo>
                      <a:pt x="60" y="263"/>
                    </a:lnTo>
                    <a:lnTo>
                      <a:pt x="62" y="265"/>
                    </a:lnTo>
                    <a:lnTo>
                      <a:pt x="82" y="260"/>
                    </a:lnTo>
                    <a:lnTo>
                      <a:pt x="87" y="263"/>
                    </a:lnTo>
                    <a:lnTo>
                      <a:pt x="83" y="267"/>
                    </a:lnTo>
                    <a:lnTo>
                      <a:pt x="85" y="270"/>
                    </a:lnTo>
                    <a:lnTo>
                      <a:pt x="85" y="273"/>
                    </a:lnTo>
                    <a:lnTo>
                      <a:pt x="90" y="270"/>
                    </a:lnTo>
                    <a:lnTo>
                      <a:pt x="92" y="272"/>
                    </a:lnTo>
                    <a:lnTo>
                      <a:pt x="95" y="268"/>
                    </a:lnTo>
                    <a:lnTo>
                      <a:pt x="96" y="268"/>
                    </a:lnTo>
                    <a:lnTo>
                      <a:pt x="96" y="273"/>
                    </a:lnTo>
                    <a:lnTo>
                      <a:pt x="100" y="278"/>
                    </a:lnTo>
                    <a:lnTo>
                      <a:pt x="101" y="282"/>
                    </a:lnTo>
                    <a:lnTo>
                      <a:pt x="100" y="285"/>
                    </a:lnTo>
                    <a:lnTo>
                      <a:pt x="100" y="288"/>
                    </a:lnTo>
                    <a:lnTo>
                      <a:pt x="103" y="290"/>
                    </a:lnTo>
                    <a:lnTo>
                      <a:pt x="105" y="288"/>
                    </a:lnTo>
                    <a:lnTo>
                      <a:pt x="108" y="290"/>
                    </a:lnTo>
                    <a:lnTo>
                      <a:pt x="108" y="293"/>
                    </a:lnTo>
                    <a:lnTo>
                      <a:pt x="111" y="291"/>
                    </a:lnTo>
                    <a:lnTo>
                      <a:pt x="111" y="295"/>
                    </a:lnTo>
                    <a:lnTo>
                      <a:pt x="115" y="295"/>
                    </a:lnTo>
                    <a:lnTo>
                      <a:pt x="116" y="293"/>
                    </a:lnTo>
                    <a:lnTo>
                      <a:pt x="121" y="296"/>
                    </a:lnTo>
                    <a:lnTo>
                      <a:pt x="126" y="305"/>
                    </a:lnTo>
                    <a:lnTo>
                      <a:pt x="124" y="306"/>
                    </a:lnTo>
                    <a:lnTo>
                      <a:pt x="126" y="309"/>
                    </a:lnTo>
                    <a:lnTo>
                      <a:pt x="128" y="314"/>
                    </a:lnTo>
                    <a:lnTo>
                      <a:pt x="136" y="323"/>
                    </a:lnTo>
                    <a:lnTo>
                      <a:pt x="133" y="329"/>
                    </a:lnTo>
                    <a:lnTo>
                      <a:pt x="136" y="328"/>
                    </a:lnTo>
                    <a:lnTo>
                      <a:pt x="138" y="332"/>
                    </a:lnTo>
                    <a:lnTo>
                      <a:pt x="149" y="339"/>
                    </a:lnTo>
                    <a:lnTo>
                      <a:pt x="149" y="346"/>
                    </a:lnTo>
                    <a:lnTo>
                      <a:pt x="147" y="352"/>
                    </a:lnTo>
                    <a:lnTo>
                      <a:pt x="142" y="354"/>
                    </a:lnTo>
                    <a:lnTo>
                      <a:pt x="124" y="365"/>
                    </a:lnTo>
                    <a:lnTo>
                      <a:pt x="119" y="370"/>
                    </a:lnTo>
                    <a:lnTo>
                      <a:pt x="119" y="374"/>
                    </a:lnTo>
                    <a:lnTo>
                      <a:pt x="121" y="377"/>
                    </a:lnTo>
                    <a:lnTo>
                      <a:pt x="116" y="380"/>
                    </a:lnTo>
                    <a:lnTo>
                      <a:pt x="119" y="385"/>
                    </a:lnTo>
                    <a:lnTo>
                      <a:pt x="118" y="393"/>
                    </a:lnTo>
                    <a:lnTo>
                      <a:pt x="118" y="398"/>
                    </a:lnTo>
                    <a:lnTo>
                      <a:pt x="115" y="402"/>
                    </a:lnTo>
                    <a:lnTo>
                      <a:pt x="113" y="408"/>
                    </a:lnTo>
                    <a:lnTo>
                      <a:pt x="110" y="408"/>
                    </a:lnTo>
                    <a:lnTo>
                      <a:pt x="105" y="415"/>
                    </a:lnTo>
                    <a:lnTo>
                      <a:pt x="103" y="415"/>
                    </a:lnTo>
                    <a:lnTo>
                      <a:pt x="106" y="421"/>
                    </a:lnTo>
                    <a:lnTo>
                      <a:pt x="108" y="429"/>
                    </a:lnTo>
                    <a:lnTo>
                      <a:pt x="113" y="433"/>
                    </a:lnTo>
                    <a:lnTo>
                      <a:pt x="113" y="439"/>
                    </a:lnTo>
                    <a:lnTo>
                      <a:pt x="115" y="441"/>
                    </a:lnTo>
                    <a:lnTo>
                      <a:pt x="118" y="438"/>
                    </a:lnTo>
                    <a:lnTo>
                      <a:pt x="121" y="443"/>
                    </a:lnTo>
                    <a:lnTo>
                      <a:pt x="124" y="446"/>
                    </a:lnTo>
                    <a:lnTo>
                      <a:pt x="134" y="446"/>
                    </a:lnTo>
                    <a:lnTo>
                      <a:pt x="134" y="441"/>
                    </a:lnTo>
                    <a:lnTo>
                      <a:pt x="139" y="443"/>
                    </a:lnTo>
                    <a:lnTo>
                      <a:pt x="142" y="439"/>
                    </a:lnTo>
                    <a:lnTo>
                      <a:pt x="146" y="438"/>
                    </a:lnTo>
                    <a:lnTo>
                      <a:pt x="147" y="441"/>
                    </a:lnTo>
                    <a:lnTo>
                      <a:pt x="146" y="444"/>
                    </a:lnTo>
                    <a:lnTo>
                      <a:pt x="151" y="451"/>
                    </a:lnTo>
                    <a:lnTo>
                      <a:pt x="149" y="462"/>
                    </a:lnTo>
                    <a:lnTo>
                      <a:pt x="154" y="466"/>
                    </a:lnTo>
                    <a:lnTo>
                      <a:pt x="154" y="471"/>
                    </a:lnTo>
                    <a:lnTo>
                      <a:pt x="156" y="474"/>
                    </a:lnTo>
                    <a:lnTo>
                      <a:pt x="156" y="479"/>
                    </a:lnTo>
                    <a:lnTo>
                      <a:pt x="161" y="477"/>
                    </a:lnTo>
                    <a:lnTo>
                      <a:pt x="170" y="494"/>
                    </a:lnTo>
                    <a:lnTo>
                      <a:pt x="175" y="499"/>
                    </a:lnTo>
                    <a:lnTo>
                      <a:pt x="175" y="500"/>
                    </a:lnTo>
                    <a:lnTo>
                      <a:pt x="177" y="500"/>
                    </a:lnTo>
                    <a:lnTo>
                      <a:pt x="182" y="503"/>
                    </a:lnTo>
                    <a:lnTo>
                      <a:pt x="185" y="510"/>
                    </a:lnTo>
                    <a:lnTo>
                      <a:pt x="190" y="515"/>
                    </a:lnTo>
                    <a:lnTo>
                      <a:pt x="195" y="517"/>
                    </a:lnTo>
                    <a:lnTo>
                      <a:pt x="197" y="525"/>
                    </a:lnTo>
                    <a:lnTo>
                      <a:pt x="198" y="525"/>
                    </a:lnTo>
                    <a:lnTo>
                      <a:pt x="200" y="525"/>
                    </a:lnTo>
                    <a:lnTo>
                      <a:pt x="202" y="527"/>
                    </a:lnTo>
                    <a:lnTo>
                      <a:pt x="208" y="523"/>
                    </a:lnTo>
                    <a:lnTo>
                      <a:pt x="220" y="535"/>
                    </a:lnTo>
                    <a:lnTo>
                      <a:pt x="225" y="533"/>
                    </a:lnTo>
                    <a:lnTo>
                      <a:pt x="226" y="535"/>
                    </a:lnTo>
                    <a:lnTo>
                      <a:pt x="228" y="540"/>
                    </a:lnTo>
                    <a:lnTo>
                      <a:pt x="234" y="540"/>
                    </a:lnTo>
                    <a:lnTo>
                      <a:pt x="231" y="543"/>
                    </a:lnTo>
                    <a:lnTo>
                      <a:pt x="236" y="545"/>
                    </a:lnTo>
                    <a:lnTo>
                      <a:pt x="236" y="550"/>
                    </a:lnTo>
                    <a:lnTo>
                      <a:pt x="234" y="551"/>
                    </a:lnTo>
                    <a:lnTo>
                      <a:pt x="234" y="558"/>
                    </a:lnTo>
                    <a:lnTo>
                      <a:pt x="238" y="561"/>
                    </a:lnTo>
                    <a:lnTo>
                      <a:pt x="241" y="561"/>
                    </a:lnTo>
                    <a:lnTo>
                      <a:pt x="246" y="568"/>
                    </a:lnTo>
                    <a:lnTo>
                      <a:pt x="253" y="568"/>
                    </a:lnTo>
                    <a:lnTo>
                      <a:pt x="253" y="574"/>
                    </a:lnTo>
                    <a:lnTo>
                      <a:pt x="254" y="579"/>
                    </a:lnTo>
                    <a:lnTo>
                      <a:pt x="253" y="582"/>
                    </a:lnTo>
                    <a:lnTo>
                      <a:pt x="254" y="587"/>
                    </a:lnTo>
                    <a:lnTo>
                      <a:pt x="253" y="591"/>
                    </a:lnTo>
                    <a:lnTo>
                      <a:pt x="256" y="594"/>
                    </a:lnTo>
                    <a:lnTo>
                      <a:pt x="259" y="597"/>
                    </a:lnTo>
                    <a:lnTo>
                      <a:pt x="264" y="594"/>
                    </a:lnTo>
                    <a:lnTo>
                      <a:pt x="267" y="596"/>
                    </a:lnTo>
                    <a:lnTo>
                      <a:pt x="269" y="597"/>
                    </a:lnTo>
                    <a:lnTo>
                      <a:pt x="267" y="602"/>
                    </a:lnTo>
                    <a:lnTo>
                      <a:pt x="272" y="605"/>
                    </a:lnTo>
                    <a:lnTo>
                      <a:pt x="276" y="605"/>
                    </a:lnTo>
                    <a:lnTo>
                      <a:pt x="280" y="610"/>
                    </a:lnTo>
                    <a:lnTo>
                      <a:pt x="284" y="610"/>
                    </a:lnTo>
                    <a:lnTo>
                      <a:pt x="285" y="610"/>
                    </a:lnTo>
                    <a:lnTo>
                      <a:pt x="285" y="615"/>
                    </a:lnTo>
                    <a:lnTo>
                      <a:pt x="284" y="620"/>
                    </a:lnTo>
                    <a:lnTo>
                      <a:pt x="282" y="625"/>
                    </a:lnTo>
                    <a:lnTo>
                      <a:pt x="284" y="627"/>
                    </a:lnTo>
                    <a:lnTo>
                      <a:pt x="294" y="632"/>
                    </a:lnTo>
                    <a:lnTo>
                      <a:pt x="295" y="633"/>
                    </a:lnTo>
                    <a:lnTo>
                      <a:pt x="308" y="638"/>
                    </a:lnTo>
                    <a:lnTo>
                      <a:pt x="303" y="640"/>
                    </a:lnTo>
                    <a:lnTo>
                      <a:pt x="300" y="640"/>
                    </a:lnTo>
                    <a:lnTo>
                      <a:pt x="297" y="645"/>
                    </a:lnTo>
                    <a:lnTo>
                      <a:pt x="294" y="653"/>
                    </a:lnTo>
                    <a:lnTo>
                      <a:pt x="295" y="655"/>
                    </a:lnTo>
                    <a:lnTo>
                      <a:pt x="302" y="651"/>
                    </a:lnTo>
                    <a:lnTo>
                      <a:pt x="305" y="655"/>
                    </a:lnTo>
                    <a:lnTo>
                      <a:pt x="305" y="658"/>
                    </a:lnTo>
                    <a:lnTo>
                      <a:pt x="310" y="651"/>
                    </a:lnTo>
                    <a:lnTo>
                      <a:pt x="312" y="655"/>
                    </a:lnTo>
                    <a:lnTo>
                      <a:pt x="310" y="655"/>
                    </a:lnTo>
                    <a:lnTo>
                      <a:pt x="312" y="658"/>
                    </a:lnTo>
                    <a:lnTo>
                      <a:pt x="318" y="655"/>
                    </a:lnTo>
                    <a:lnTo>
                      <a:pt x="320" y="658"/>
                    </a:lnTo>
                    <a:lnTo>
                      <a:pt x="318" y="661"/>
                    </a:lnTo>
                    <a:lnTo>
                      <a:pt x="320" y="661"/>
                    </a:lnTo>
                    <a:lnTo>
                      <a:pt x="323" y="661"/>
                    </a:lnTo>
                    <a:lnTo>
                      <a:pt x="326" y="661"/>
                    </a:lnTo>
                    <a:lnTo>
                      <a:pt x="328" y="660"/>
                    </a:lnTo>
                    <a:lnTo>
                      <a:pt x="330" y="658"/>
                    </a:lnTo>
                    <a:lnTo>
                      <a:pt x="331" y="658"/>
                    </a:lnTo>
                    <a:lnTo>
                      <a:pt x="333" y="658"/>
                    </a:lnTo>
                    <a:lnTo>
                      <a:pt x="336" y="655"/>
                    </a:lnTo>
                    <a:lnTo>
                      <a:pt x="338" y="655"/>
                    </a:lnTo>
                    <a:lnTo>
                      <a:pt x="343" y="655"/>
                    </a:lnTo>
                    <a:lnTo>
                      <a:pt x="346" y="653"/>
                    </a:lnTo>
                    <a:lnTo>
                      <a:pt x="348" y="653"/>
                    </a:lnTo>
                    <a:lnTo>
                      <a:pt x="349" y="653"/>
                    </a:lnTo>
                    <a:lnTo>
                      <a:pt x="349" y="655"/>
                    </a:lnTo>
                    <a:lnTo>
                      <a:pt x="351" y="655"/>
                    </a:lnTo>
                    <a:lnTo>
                      <a:pt x="353" y="653"/>
                    </a:lnTo>
                    <a:lnTo>
                      <a:pt x="356" y="651"/>
                    </a:lnTo>
                    <a:lnTo>
                      <a:pt x="353" y="648"/>
                    </a:lnTo>
                    <a:lnTo>
                      <a:pt x="354" y="648"/>
                    </a:lnTo>
                    <a:lnTo>
                      <a:pt x="354" y="647"/>
                    </a:lnTo>
                    <a:lnTo>
                      <a:pt x="358" y="647"/>
                    </a:lnTo>
                    <a:lnTo>
                      <a:pt x="361" y="643"/>
                    </a:lnTo>
                    <a:lnTo>
                      <a:pt x="364" y="643"/>
                    </a:lnTo>
                    <a:lnTo>
                      <a:pt x="368" y="645"/>
                    </a:lnTo>
                    <a:lnTo>
                      <a:pt x="371" y="643"/>
                    </a:lnTo>
                    <a:lnTo>
                      <a:pt x="371" y="640"/>
                    </a:lnTo>
                    <a:lnTo>
                      <a:pt x="372" y="640"/>
                    </a:lnTo>
                    <a:lnTo>
                      <a:pt x="376" y="643"/>
                    </a:lnTo>
                    <a:lnTo>
                      <a:pt x="377" y="643"/>
                    </a:lnTo>
                    <a:lnTo>
                      <a:pt x="379" y="643"/>
                    </a:lnTo>
                    <a:lnTo>
                      <a:pt x="377" y="651"/>
                    </a:lnTo>
                    <a:lnTo>
                      <a:pt x="381" y="655"/>
                    </a:lnTo>
                    <a:lnTo>
                      <a:pt x="384" y="655"/>
                    </a:lnTo>
                    <a:lnTo>
                      <a:pt x="389" y="656"/>
                    </a:lnTo>
                    <a:lnTo>
                      <a:pt x="389" y="655"/>
                    </a:lnTo>
                    <a:lnTo>
                      <a:pt x="389" y="653"/>
                    </a:lnTo>
                    <a:lnTo>
                      <a:pt x="392" y="653"/>
                    </a:lnTo>
                    <a:lnTo>
                      <a:pt x="395" y="655"/>
                    </a:lnTo>
                    <a:lnTo>
                      <a:pt x="397" y="653"/>
                    </a:lnTo>
                    <a:lnTo>
                      <a:pt x="400" y="650"/>
                    </a:lnTo>
                    <a:lnTo>
                      <a:pt x="402" y="648"/>
                    </a:lnTo>
                    <a:lnTo>
                      <a:pt x="402" y="650"/>
                    </a:lnTo>
                    <a:lnTo>
                      <a:pt x="405" y="648"/>
                    </a:lnTo>
                    <a:lnTo>
                      <a:pt x="407" y="647"/>
                    </a:lnTo>
                    <a:lnTo>
                      <a:pt x="405" y="645"/>
                    </a:lnTo>
                    <a:lnTo>
                      <a:pt x="410" y="645"/>
                    </a:lnTo>
                    <a:lnTo>
                      <a:pt x="414" y="650"/>
                    </a:lnTo>
                    <a:lnTo>
                      <a:pt x="412" y="651"/>
                    </a:lnTo>
                    <a:lnTo>
                      <a:pt x="412" y="656"/>
                    </a:lnTo>
                    <a:lnTo>
                      <a:pt x="417" y="660"/>
                    </a:lnTo>
                    <a:lnTo>
                      <a:pt x="418" y="658"/>
                    </a:lnTo>
                    <a:lnTo>
                      <a:pt x="427" y="663"/>
                    </a:lnTo>
                    <a:lnTo>
                      <a:pt x="430" y="663"/>
                    </a:lnTo>
                    <a:lnTo>
                      <a:pt x="435" y="660"/>
                    </a:lnTo>
                    <a:lnTo>
                      <a:pt x="438" y="663"/>
                    </a:lnTo>
                    <a:lnTo>
                      <a:pt x="445" y="663"/>
                    </a:lnTo>
                    <a:lnTo>
                      <a:pt x="445" y="658"/>
                    </a:lnTo>
                    <a:lnTo>
                      <a:pt x="450" y="663"/>
                    </a:lnTo>
                    <a:lnTo>
                      <a:pt x="453" y="661"/>
                    </a:lnTo>
                    <a:lnTo>
                      <a:pt x="455" y="663"/>
                    </a:lnTo>
                    <a:lnTo>
                      <a:pt x="455" y="666"/>
                    </a:lnTo>
                    <a:lnTo>
                      <a:pt x="455" y="668"/>
                    </a:lnTo>
                    <a:lnTo>
                      <a:pt x="453" y="673"/>
                    </a:lnTo>
                    <a:lnTo>
                      <a:pt x="456" y="678"/>
                    </a:lnTo>
                    <a:lnTo>
                      <a:pt x="451" y="683"/>
                    </a:lnTo>
                    <a:lnTo>
                      <a:pt x="453" y="686"/>
                    </a:lnTo>
                    <a:lnTo>
                      <a:pt x="445" y="688"/>
                    </a:lnTo>
                    <a:lnTo>
                      <a:pt x="441" y="693"/>
                    </a:lnTo>
                    <a:lnTo>
                      <a:pt x="441" y="696"/>
                    </a:lnTo>
                    <a:lnTo>
                      <a:pt x="441" y="698"/>
                    </a:lnTo>
                    <a:lnTo>
                      <a:pt x="443" y="701"/>
                    </a:lnTo>
                    <a:lnTo>
                      <a:pt x="443" y="702"/>
                    </a:lnTo>
                    <a:lnTo>
                      <a:pt x="445" y="702"/>
                    </a:lnTo>
                    <a:lnTo>
                      <a:pt x="441" y="711"/>
                    </a:lnTo>
                    <a:lnTo>
                      <a:pt x="441" y="712"/>
                    </a:lnTo>
                    <a:lnTo>
                      <a:pt x="445" y="714"/>
                    </a:lnTo>
                    <a:lnTo>
                      <a:pt x="458" y="711"/>
                    </a:lnTo>
                    <a:lnTo>
                      <a:pt x="466" y="709"/>
                    </a:lnTo>
                    <a:lnTo>
                      <a:pt x="473" y="709"/>
                    </a:lnTo>
                    <a:lnTo>
                      <a:pt x="473" y="706"/>
                    </a:lnTo>
                    <a:lnTo>
                      <a:pt x="476" y="706"/>
                    </a:lnTo>
                    <a:lnTo>
                      <a:pt x="479" y="702"/>
                    </a:lnTo>
                    <a:lnTo>
                      <a:pt x="491" y="699"/>
                    </a:lnTo>
                    <a:lnTo>
                      <a:pt x="497" y="693"/>
                    </a:lnTo>
                    <a:lnTo>
                      <a:pt x="506" y="688"/>
                    </a:lnTo>
                    <a:lnTo>
                      <a:pt x="507" y="696"/>
                    </a:lnTo>
                    <a:lnTo>
                      <a:pt x="510" y="699"/>
                    </a:lnTo>
                    <a:lnTo>
                      <a:pt x="512" y="701"/>
                    </a:lnTo>
                    <a:lnTo>
                      <a:pt x="527" y="702"/>
                    </a:lnTo>
                    <a:lnTo>
                      <a:pt x="533" y="707"/>
                    </a:lnTo>
                    <a:lnTo>
                      <a:pt x="533" y="709"/>
                    </a:lnTo>
                    <a:lnTo>
                      <a:pt x="533" y="716"/>
                    </a:lnTo>
                    <a:lnTo>
                      <a:pt x="537" y="714"/>
                    </a:lnTo>
                    <a:lnTo>
                      <a:pt x="550" y="711"/>
                    </a:lnTo>
                    <a:lnTo>
                      <a:pt x="553" y="709"/>
                    </a:lnTo>
                    <a:lnTo>
                      <a:pt x="561" y="714"/>
                    </a:lnTo>
                    <a:lnTo>
                      <a:pt x="565" y="716"/>
                    </a:lnTo>
                    <a:lnTo>
                      <a:pt x="568" y="714"/>
                    </a:lnTo>
                    <a:lnTo>
                      <a:pt x="568" y="712"/>
                    </a:lnTo>
                    <a:lnTo>
                      <a:pt x="575" y="714"/>
                    </a:lnTo>
                    <a:lnTo>
                      <a:pt x="573" y="716"/>
                    </a:lnTo>
                    <a:lnTo>
                      <a:pt x="575" y="716"/>
                    </a:lnTo>
                    <a:lnTo>
                      <a:pt x="575" y="719"/>
                    </a:lnTo>
                    <a:lnTo>
                      <a:pt x="576" y="722"/>
                    </a:lnTo>
                    <a:lnTo>
                      <a:pt x="578" y="722"/>
                    </a:lnTo>
                    <a:lnTo>
                      <a:pt x="579" y="721"/>
                    </a:lnTo>
                    <a:lnTo>
                      <a:pt x="583" y="721"/>
                    </a:lnTo>
                    <a:lnTo>
                      <a:pt x="589" y="721"/>
                    </a:lnTo>
                    <a:lnTo>
                      <a:pt x="589" y="724"/>
                    </a:lnTo>
                    <a:lnTo>
                      <a:pt x="593" y="725"/>
                    </a:lnTo>
                    <a:lnTo>
                      <a:pt x="594" y="724"/>
                    </a:lnTo>
                    <a:close/>
                    <a:moveTo>
                      <a:pt x="747" y="104"/>
                    </a:moveTo>
                    <a:lnTo>
                      <a:pt x="749" y="104"/>
                    </a:lnTo>
                    <a:lnTo>
                      <a:pt x="747" y="104"/>
                    </a:lnTo>
                    <a:close/>
                    <a:moveTo>
                      <a:pt x="563" y="413"/>
                    </a:moveTo>
                    <a:lnTo>
                      <a:pt x="565" y="413"/>
                    </a:lnTo>
                    <a:lnTo>
                      <a:pt x="565" y="415"/>
                    </a:lnTo>
                    <a:lnTo>
                      <a:pt x="563" y="415"/>
                    </a:lnTo>
                    <a:lnTo>
                      <a:pt x="563" y="413"/>
                    </a:lnTo>
                    <a:close/>
                    <a:moveTo>
                      <a:pt x="681" y="438"/>
                    </a:moveTo>
                    <a:lnTo>
                      <a:pt x="683" y="438"/>
                    </a:lnTo>
                    <a:lnTo>
                      <a:pt x="681" y="438"/>
                    </a:lnTo>
                    <a:lnTo>
                      <a:pt x="675" y="434"/>
                    </a:lnTo>
                    <a:lnTo>
                      <a:pt x="670" y="434"/>
                    </a:lnTo>
                    <a:lnTo>
                      <a:pt x="676" y="439"/>
                    </a:lnTo>
                    <a:lnTo>
                      <a:pt x="680" y="438"/>
                    </a:lnTo>
                    <a:lnTo>
                      <a:pt x="678" y="439"/>
                    </a:lnTo>
                    <a:lnTo>
                      <a:pt x="681" y="438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 17">
                <a:extLst>
                  <a:ext uri="{FF2B5EF4-FFF2-40B4-BE49-F238E27FC236}">
                    <a16:creationId xmlns:a16="http://schemas.microsoft.com/office/drawing/2014/main" id="{F844E3FE-6947-4B8C-8B05-AEB947A2F44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919537" y="2932113"/>
                <a:ext cx="1333500" cy="1511300"/>
              </a:xfrm>
              <a:custGeom>
                <a:avLst/>
                <a:gdLst>
                  <a:gd name="T0" fmla="*/ 722 w 840"/>
                  <a:gd name="T1" fmla="*/ 417 h 952"/>
                  <a:gd name="T2" fmla="*/ 733 w 840"/>
                  <a:gd name="T3" fmla="*/ 409 h 952"/>
                  <a:gd name="T4" fmla="*/ 745 w 840"/>
                  <a:gd name="T5" fmla="*/ 388 h 952"/>
                  <a:gd name="T6" fmla="*/ 799 w 840"/>
                  <a:gd name="T7" fmla="*/ 329 h 952"/>
                  <a:gd name="T8" fmla="*/ 830 w 840"/>
                  <a:gd name="T9" fmla="*/ 307 h 952"/>
                  <a:gd name="T10" fmla="*/ 815 w 840"/>
                  <a:gd name="T11" fmla="*/ 177 h 952"/>
                  <a:gd name="T12" fmla="*/ 789 w 840"/>
                  <a:gd name="T13" fmla="*/ 115 h 952"/>
                  <a:gd name="T14" fmla="*/ 772 w 840"/>
                  <a:gd name="T15" fmla="*/ 79 h 952"/>
                  <a:gd name="T16" fmla="*/ 749 w 840"/>
                  <a:gd name="T17" fmla="*/ 74 h 952"/>
                  <a:gd name="T18" fmla="*/ 731 w 840"/>
                  <a:gd name="T19" fmla="*/ 59 h 952"/>
                  <a:gd name="T20" fmla="*/ 730 w 840"/>
                  <a:gd name="T21" fmla="*/ 61 h 952"/>
                  <a:gd name="T22" fmla="*/ 722 w 840"/>
                  <a:gd name="T23" fmla="*/ 56 h 952"/>
                  <a:gd name="T24" fmla="*/ 685 w 840"/>
                  <a:gd name="T25" fmla="*/ 97 h 952"/>
                  <a:gd name="T26" fmla="*/ 639 w 840"/>
                  <a:gd name="T27" fmla="*/ 26 h 952"/>
                  <a:gd name="T28" fmla="*/ 603 w 840"/>
                  <a:gd name="T29" fmla="*/ 18 h 952"/>
                  <a:gd name="T30" fmla="*/ 567 w 840"/>
                  <a:gd name="T31" fmla="*/ 48 h 952"/>
                  <a:gd name="T32" fmla="*/ 492 w 840"/>
                  <a:gd name="T33" fmla="*/ 82 h 952"/>
                  <a:gd name="T34" fmla="*/ 444 w 840"/>
                  <a:gd name="T35" fmla="*/ 80 h 952"/>
                  <a:gd name="T36" fmla="*/ 437 w 840"/>
                  <a:gd name="T37" fmla="*/ 135 h 952"/>
                  <a:gd name="T38" fmla="*/ 452 w 840"/>
                  <a:gd name="T39" fmla="*/ 182 h 952"/>
                  <a:gd name="T40" fmla="*/ 439 w 840"/>
                  <a:gd name="T41" fmla="*/ 230 h 952"/>
                  <a:gd name="T42" fmla="*/ 416 w 840"/>
                  <a:gd name="T43" fmla="*/ 235 h 952"/>
                  <a:gd name="T44" fmla="*/ 321 w 840"/>
                  <a:gd name="T45" fmla="*/ 230 h 952"/>
                  <a:gd name="T46" fmla="*/ 303 w 840"/>
                  <a:gd name="T47" fmla="*/ 184 h 952"/>
                  <a:gd name="T48" fmla="*/ 250 w 840"/>
                  <a:gd name="T49" fmla="*/ 169 h 952"/>
                  <a:gd name="T50" fmla="*/ 209 w 840"/>
                  <a:gd name="T51" fmla="*/ 164 h 952"/>
                  <a:gd name="T52" fmla="*/ 174 w 840"/>
                  <a:gd name="T53" fmla="*/ 182 h 952"/>
                  <a:gd name="T54" fmla="*/ 143 w 840"/>
                  <a:gd name="T55" fmla="*/ 154 h 952"/>
                  <a:gd name="T56" fmla="*/ 101 w 840"/>
                  <a:gd name="T57" fmla="*/ 103 h 952"/>
                  <a:gd name="T58" fmla="*/ 50 w 840"/>
                  <a:gd name="T59" fmla="*/ 115 h 952"/>
                  <a:gd name="T60" fmla="*/ 9 w 840"/>
                  <a:gd name="T61" fmla="*/ 149 h 952"/>
                  <a:gd name="T62" fmla="*/ 25 w 840"/>
                  <a:gd name="T63" fmla="*/ 228 h 952"/>
                  <a:gd name="T64" fmla="*/ 82 w 840"/>
                  <a:gd name="T65" fmla="*/ 294 h 952"/>
                  <a:gd name="T66" fmla="*/ 94 w 840"/>
                  <a:gd name="T67" fmla="*/ 357 h 952"/>
                  <a:gd name="T68" fmla="*/ 66 w 840"/>
                  <a:gd name="T69" fmla="*/ 401 h 952"/>
                  <a:gd name="T70" fmla="*/ 82 w 840"/>
                  <a:gd name="T71" fmla="*/ 427 h 952"/>
                  <a:gd name="T72" fmla="*/ 114 w 840"/>
                  <a:gd name="T73" fmla="*/ 439 h 952"/>
                  <a:gd name="T74" fmla="*/ 151 w 840"/>
                  <a:gd name="T75" fmla="*/ 462 h 952"/>
                  <a:gd name="T76" fmla="*/ 133 w 840"/>
                  <a:gd name="T77" fmla="*/ 490 h 952"/>
                  <a:gd name="T78" fmla="*/ 140 w 840"/>
                  <a:gd name="T79" fmla="*/ 534 h 952"/>
                  <a:gd name="T80" fmla="*/ 165 w 840"/>
                  <a:gd name="T81" fmla="*/ 575 h 952"/>
                  <a:gd name="T82" fmla="*/ 230 w 840"/>
                  <a:gd name="T83" fmla="*/ 639 h 952"/>
                  <a:gd name="T84" fmla="*/ 280 w 840"/>
                  <a:gd name="T85" fmla="*/ 741 h 952"/>
                  <a:gd name="T86" fmla="*/ 268 w 840"/>
                  <a:gd name="T87" fmla="*/ 809 h 952"/>
                  <a:gd name="T88" fmla="*/ 265 w 840"/>
                  <a:gd name="T89" fmla="*/ 884 h 952"/>
                  <a:gd name="T90" fmla="*/ 266 w 840"/>
                  <a:gd name="T91" fmla="*/ 932 h 952"/>
                  <a:gd name="T92" fmla="*/ 311 w 840"/>
                  <a:gd name="T93" fmla="*/ 942 h 952"/>
                  <a:gd name="T94" fmla="*/ 349 w 840"/>
                  <a:gd name="T95" fmla="*/ 896 h 952"/>
                  <a:gd name="T96" fmla="*/ 403 w 840"/>
                  <a:gd name="T97" fmla="*/ 921 h 952"/>
                  <a:gd name="T98" fmla="*/ 408 w 840"/>
                  <a:gd name="T99" fmla="*/ 875 h 952"/>
                  <a:gd name="T100" fmla="*/ 450 w 840"/>
                  <a:gd name="T101" fmla="*/ 843 h 952"/>
                  <a:gd name="T102" fmla="*/ 508 w 840"/>
                  <a:gd name="T103" fmla="*/ 784 h 952"/>
                  <a:gd name="T104" fmla="*/ 542 w 840"/>
                  <a:gd name="T105" fmla="*/ 725 h 952"/>
                  <a:gd name="T106" fmla="*/ 549 w 840"/>
                  <a:gd name="T107" fmla="*/ 672 h 952"/>
                  <a:gd name="T108" fmla="*/ 511 w 840"/>
                  <a:gd name="T109" fmla="*/ 651 h 952"/>
                  <a:gd name="T110" fmla="*/ 477 w 840"/>
                  <a:gd name="T111" fmla="*/ 618 h 952"/>
                  <a:gd name="T112" fmla="*/ 524 w 840"/>
                  <a:gd name="T113" fmla="*/ 580 h 952"/>
                  <a:gd name="T114" fmla="*/ 600 w 840"/>
                  <a:gd name="T115" fmla="*/ 551 h 952"/>
                  <a:gd name="T116" fmla="*/ 694 w 840"/>
                  <a:gd name="T117" fmla="*/ 551 h 952"/>
                  <a:gd name="T118" fmla="*/ 802 w 840"/>
                  <a:gd name="T119" fmla="*/ 498 h 952"/>
                  <a:gd name="T120" fmla="*/ 776 w 840"/>
                  <a:gd name="T121" fmla="*/ 436 h 952"/>
                  <a:gd name="T122" fmla="*/ 789 w 840"/>
                  <a:gd name="T123" fmla="*/ 463 h 9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40" h="952">
                    <a:moveTo>
                      <a:pt x="702" y="436"/>
                    </a:moveTo>
                    <a:lnTo>
                      <a:pt x="690" y="440"/>
                    </a:lnTo>
                    <a:lnTo>
                      <a:pt x="685" y="445"/>
                    </a:lnTo>
                    <a:lnTo>
                      <a:pt x="682" y="447"/>
                    </a:lnTo>
                    <a:lnTo>
                      <a:pt x="680" y="449"/>
                    </a:lnTo>
                    <a:lnTo>
                      <a:pt x="680" y="452"/>
                    </a:lnTo>
                    <a:lnTo>
                      <a:pt x="680" y="450"/>
                    </a:lnTo>
                    <a:lnTo>
                      <a:pt x="682" y="447"/>
                    </a:lnTo>
                    <a:lnTo>
                      <a:pt x="685" y="445"/>
                    </a:lnTo>
                    <a:lnTo>
                      <a:pt x="690" y="440"/>
                    </a:lnTo>
                    <a:lnTo>
                      <a:pt x="705" y="434"/>
                    </a:lnTo>
                    <a:lnTo>
                      <a:pt x="718" y="422"/>
                    </a:lnTo>
                    <a:lnTo>
                      <a:pt x="717" y="422"/>
                    </a:lnTo>
                    <a:lnTo>
                      <a:pt x="718" y="422"/>
                    </a:lnTo>
                    <a:lnTo>
                      <a:pt x="718" y="424"/>
                    </a:lnTo>
                    <a:lnTo>
                      <a:pt x="723" y="421"/>
                    </a:lnTo>
                    <a:lnTo>
                      <a:pt x="722" y="419"/>
                    </a:lnTo>
                    <a:lnTo>
                      <a:pt x="726" y="417"/>
                    </a:lnTo>
                    <a:lnTo>
                      <a:pt x="722" y="417"/>
                    </a:lnTo>
                    <a:lnTo>
                      <a:pt x="726" y="416"/>
                    </a:lnTo>
                    <a:lnTo>
                      <a:pt x="726" y="413"/>
                    </a:lnTo>
                    <a:lnTo>
                      <a:pt x="728" y="414"/>
                    </a:lnTo>
                    <a:lnTo>
                      <a:pt x="730" y="413"/>
                    </a:lnTo>
                    <a:lnTo>
                      <a:pt x="730" y="411"/>
                    </a:lnTo>
                    <a:lnTo>
                      <a:pt x="728" y="408"/>
                    </a:lnTo>
                    <a:lnTo>
                      <a:pt x="726" y="408"/>
                    </a:lnTo>
                    <a:lnTo>
                      <a:pt x="725" y="408"/>
                    </a:lnTo>
                    <a:lnTo>
                      <a:pt x="726" y="408"/>
                    </a:lnTo>
                    <a:lnTo>
                      <a:pt x="728" y="406"/>
                    </a:lnTo>
                    <a:lnTo>
                      <a:pt x="726" y="406"/>
                    </a:lnTo>
                    <a:lnTo>
                      <a:pt x="726" y="404"/>
                    </a:lnTo>
                    <a:lnTo>
                      <a:pt x="726" y="406"/>
                    </a:lnTo>
                    <a:lnTo>
                      <a:pt x="728" y="406"/>
                    </a:lnTo>
                    <a:lnTo>
                      <a:pt x="730" y="406"/>
                    </a:lnTo>
                    <a:lnTo>
                      <a:pt x="731" y="409"/>
                    </a:lnTo>
                    <a:lnTo>
                      <a:pt x="730" y="406"/>
                    </a:lnTo>
                    <a:lnTo>
                      <a:pt x="730" y="403"/>
                    </a:lnTo>
                    <a:lnTo>
                      <a:pt x="733" y="409"/>
                    </a:lnTo>
                    <a:lnTo>
                      <a:pt x="738" y="404"/>
                    </a:lnTo>
                    <a:lnTo>
                      <a:pt x="738" y="403"/>
                    </a:lnTo>
                    <a:lnTo>
                      <a:pt x="741" y="401"/>
                    </a:lnTo>
                    <a:lnTo>
                      <a:pt x="735" y="403"/>
                    </a:lnTo>
                    <a:lnTo>
                      <a:pt x="728" y="399"/>
                    </a:lnTo>
                    <a:lnTo>
                      <a:pt x="723" y="396"/>
                    </a:lnTo>
                    <a:lnTo>
                      <a:pt x="715" y="388"/>
                    </a:lnTo>
                    <a:lnTo>
                      <a:pt x="710" y="381"/>
                    </a:lnTo>
                    <a:lnTo>
                      <a:pt x="707" y="381"/>
                    </a:lnTo>
                    <a:lnTo>
                      <a:pt x="705" y="381"/>
                    </a:lnTo>
                    <a:lnTo>
                      <a:pt x="707" y="381"/>
                    </a:lnTo>
                    <a:lnTo>
                      <a:pt x="710" y="380"/>
                    </a:lnTo>
                    <a:lnTo>
                      <a:pt x="713" y="383"/>
                    </a:lnTo>
                    <a:lnTo>
                      <a:pt x="723" y="396"/>
                    </a:lnTo>
                    <a:lnTo>
                      <a:pt x="733" y="401"/>
                    </a:lnTo>
                    <a:lnTo>
                      <a:pt x="740" y="401"/>
                    </a:lnTo>
                    <a:lnTo>
                      <a:pt x="743" y="399"/>
                    </a:lnTo>
                    <a:lnTo>
                      <a:pt x="741" y="398"/>
                    </a:lnTo>
                    <a:lnTo>
                      <a:pt x="745" y="388"/>
                    </a:lnTo>
                    <a:lnTo>
                      <a:pt x="748" y="386"/>
                    </a:lnTo>
                    <a:lnTo>
                      <a:pt x="745" y="386"/>
                    </a:lnTo>
                    <a:lnTo>
                      <a:pt x="748" y="385"/>
                    </a:lnTo>
                    <a:lnTo>
                      <a:pt x="749" y="380"/>
                    </a:lnTo>
                    <a:lnTo>
                      <a:pt x="751" y="378"/>
                    </a:lnTo>
                    <a:lnTo>
                      <a:pt x="749" y="380"/>
                    </a:lnTo>
                    <a:lnTo>
                      <a:pt x="754" y="375"/>
                    </a:lnTo>
                    <a:lnTo>
                      <a:pt x="763" y="363"/>
                    </a:lnTo>
                    <a:lnTo>
                      <a:pt x="766" y="360"/>
                    </a:lnTo>
                    <a:lnTo>
                      <a:pt x="768" y="357"/>
                    </a:lnTo>
                    <a:lnTo>
                      <a:pt x="771" y="353"/>
                    </a:lnTo>
                    <a:lnTo>
                      <a:pt x="772" y="352"/>
                    </a:lnTo>
                    <a:lnTo>
                      <a:pt x="784" y="342"/>
                    </a:lnTo>
                    <a:lnTo>
                      <a:pt x="791" y="337"/>
                    </a:lnTo>
                    <a:lnTo>
                      <a:pt x="787" y="342"/>
                    </a:lnTo>
                    <a:lnTo>
                      <a:pt x="792" y="335"/>
                    </a:lnTo>
                    <a:lnTo>
                      <a:pt x="792" y="334"/>
                    </a:lnTo>
                    <a:lnTo>
                      <a:pt x="797" y="332"/>
                    </a:lnTo>
                    <a:lnTo>
                      <a:pt x="799" y="329"/>
                    </a:lnTo>
                    <a:lnTo>
                      <a:pt x="799" y="330"/>
                    </a:lnTo>
                    <a:lnTo>
                      <a:pt x="800" y="330"/>
                    </a:lnTo>
                    <a:lnTo>
                      <a:pt x="799" y="329"/>
                    </a:lnTo>
                    <a:lnTo>
                      <a:pt x="800" y="327"/>
                    </a:lnTo>
                    <a:lnTo>
                      <a:pt x="800" y="329"/>
                    </a:lnTo>
                    <a:lnTo>
                      <a:pt x="802" y="329"/>
                    </a:lnTo>
                    <a:lnTo>
                      <a:pt x="807" y="324"/>
                    </a:lnTo>
                    <a:lnTo>
                      <a:pt x="802" y="325"/>
                    </a:lnTo>
                    <a:lnTo>
                      <a:pt x="804" y="324"/>
                    </a:lnTo>
                    <a:lnTo>
                      <a:pt x="804" y="322"/>
                    </a:lnTo>
                    <a:lnTo>
                      <a:pt x="805" y="324"/>
                    </a:lnTo>
                    <a:lnTo>
                      <a:pt x="814" y="317"/>
                    </a:lnTo>
                    <a:lnTo>
                      <a:pt x="817" y="314"/>
                    </a:lnTo>
                    <a:lnTo>
                      <a:pt x="817" y="312"/>
                    </a:lnTo>
                    <a:lnTo>
                      <a:pt x="820" y="311"/>
                    </a:lnTo>
                    <a:lnTo>
                      <a:pt x="823" y="309"/>
                    </a:lnTo>
                    <a:lnTo>
                      <a:pt x="825" y="307"/>
                    </a:lnTo>
                    <a:lnTo>
                      <a:pt x="827" y="307"/>
                    </a:lnTo>
                    <a:lnTo>
                      <a:pt x="830" y="307"/>
                    </a:lnTo>
                    <a:lnTo>
                      <a:pt x="828" y="309"/>
                    </a:lnTo>
                    <a:lnTo>
                      <a:pt x="832" y="306"/>
                    </a:lnTo>
                    <a:lnTo>
                      <a:pt x="835" y="301"/>
                    </a:lnTo>
                    <a:lnTo>
                      <a:pt x="835" y="297"/>
                    </a:lnTo>
                    <a:lnTo>
                      <a:pt x="833" y="296"/>
                    </a:lnTo>
                    <a:lnTo>
                      <a:pt x="835" y="297"/>
                    </a:lnTo>
                    <a:lnTo>
                      <a:pt x="835" y="291"/>
                    </a:lnTo>
                    <a:lnTo>
                      <a:pt x="837" y="286"/>
                    </a:lnTo>
                    <a:lnTo>
                      <a:pt x="837" y="281"/>
                    </a:lnTo>
                    <a:lnTo>
                      <a:pt x="837" y="278"/>
                    </a:lnTo>
                    <a:lnTo>
                      <a:pt x="837" y="273"/>
                    </a:lnTo>
                    <a:lnTo>
                      <a:pt x="838" y="266"/>
                    </a:lnTo>
                    <a:lnTo>
                      <a:pt x="838" y="261"/>
                    </a:lnTo>
                    <a:lnTo>
                      <a:pt x="840" y="250"/>
                    </a:lnTo>
                    <a:lnTo>
                      <a:pt x="837" y="240"/>
                    </a:lnTo>
                    <a:lnTo>
                      <a:pt x="833" y="225"/>
                    </a:lnTo>
                    <a:lnTo>
                      <a:pt x="827" y="205"/>
                    </a:lnTo>
                    <a:lnTo>
                      <a:pt x="820" y="189"/>
                    </a:lnTo>
                    <a:lnTo>
                      <a:pt x="815" y="177"/>
                    </a:lnTo>
                    <a:lnTo>
                      <a:pt x="814" y="174"/>
                    </a:lnTo>
                    <a:lnTo>
                      <a:pt x="809" y="163"/>
                    </a:lnTo>
                    <a:lnTo>
                      <a:pt x="807" y="159"/>
                    </a:lnTo>
                    <a:lnTo>
                      <a:pt x="800" y="143"/>
                    </a:lnTo>
                    <a:lnTo>
                      <a:pt x="797" y="131"/>
                    </a:lnTo>
                    <a:lnTo>
                      <a:pt x="795" y="133"/>
                    </a:lnTo>
                    <a:lnTo>
                      <a:pt x="794" y="128"/>
                    </a:lnTo>
                    <a:lnTo>
                      <a:pt x="794" y="126"/>
                    </a:lnTo>
                    <a:lnTo>
                      <a:pt x="795" y="128"/>
                    </a:lnTo>
                    <a:lnTo>
                      <a:pt x="792" y="120"/>
                    </a:lnTo>
                    <a:lnTo>
                      <a:pt x="791" y="118"/>
                    </a:lnTo>
                    <a:lnTo>
                      <a:pt x="791" y="121"/>
                    </a:lnTo>
                    <a:lnTo>
                      <a:pt x="787" y="121"/>
                    </a:lnTo>
                    <a:lnTo>
                      <a:pt x="789" y="118"/>
                    </a:lnTo>
                    <a:lnTo>
                      <a:pt x="789" y="117"/>
                    </a:lnTo>
                    <a:lnTo>
                      <a:pt x="781" y="117"/>
                    </a:lnTo>
                    <a:lnTo>
                      <a:pt x="789" y="117"/>
                    </a:lnTo>
                    <a:lnTo>
                      <a:pt x="786" y="117"/>
                    </a:lnTo>
                    <a:lnTo>
                      <a:pt x="789" y="115"/>
                    </a:lnTo>
                    <a:lnTo>
                      <a:pt x="786" y="110"/>
                    </a:lnTo>
                    <a:lnTo>
                      <a:pt x="782" y="110"/>
                    </a:lnTo>
                    <a:lnTo>
                      <a:pt x="781" y="105"/>
                    </a:lnTo>
                    <a:lnTo>
                      <a:pt x="781" y="103"/>
                    </a:lnTo>
                    <a:lnTo>
                      <a:pt x="786" y="105"/>
                    </a:lnTo>
                    <a:lnTo>
                      <a:pt x="784" y="103"/>
                    </a:lnTo>
                    <a:lnTo>
                      <a:pt x="779" y="100"/>
                    </a:lnTo>
                    <a:lnTo>
                      <a:pt x="779" y="98"/>
                    </a:lnTo>
                    <a:lnTo>
                      <a:pt x="782" y="98"/>
                    </a:lnTo>
                    <a:lnTo>
                      <a:pt x="779" y="95"/>
                    </a:lnTo>
                    <a:lnTo>
                      <a:pt x="777" y="92"/>
                    </a:lnTo>
                    <a:lnTo>
                      <a:pt x="779" y="94"/>
                    </a:lnTo>
                    <a:lnTo>
                      <a:pt x="776" y="87"/>
                    </a:lnTo>
                    <a:lnTo>
                      <a:pt x="777" y="89"/>
                    </a:lnTo>
                    <a:lnTo>
                      <a:pt x="774" y="84"/>
                    </a:lnTo>
                    <a:lnTo>
                      <a:pt x="772" y="85"/>
                    </a:lnTo>
                    <a:lnTo>
                      <a:pt x="771" y="82"/>
                    </a:lnTo>
                    <a:lnTo>
                      <a:pt x="774" y="82"/>
                    </a:lnTo>
                    <a:lnTo>
                      <a:pt x="772" y="79"/>
                    </a:lnTo>
                    <a:lnTo>
                      <a:pt x="766" y="72"/>
                    </a:lnTo>
                    <a:lnTo>
                      <a:pt x="764" y="79"/>
                    </a:lnTo>
                    <a:lnTo>
                      <a:pt x="759" y="77"/>
                    </a:lnTo>
                    <a:lnTo>
                      <a:pt x="759" y="74"/>
                    </a:lnTo>
                    <a:lnTo>
                      <a:pt x="761" y="71"/>
                    </a:lnTo>
                    <a:lnTo>
                      <a:pt x="763" y="71"/>
                    </a:lnTo>
                    <a:lnTo>
                      <a:pt x="758" y="69"/>
                    </a:lnTo>
                    <a:lnTo>
                      <a:pt x="753" y="66"/>
                    </a:lnTo>
                    <a:lnTo>
                      <a:pt x="756" y="71"/>
                    </a:lnTo>
                    <a:lnTo>
                      <a:pt x="754" y="74"/>
                    </a:lnTo>
                    <a:lnTo>
                      <a:pt x="753" y="74"/>
                    </a:lnTo>
                    <a:lnTo>
                      <a:pt x="751" y="72"/>
                    </a:lnTo>
                    <a:lnTo>
                      <a:pt x="753" y="74"/>
                    </a:lnTo>
                    <a:lnTo>
                      <a:pt x="751" y="74"/>
                    </a:lnTo>
                    <a:lnTo>
                      <a:pt x="753" y="75"/>
                    </a:lnTo>
                    <a:lnTo>
                      <a:pt x="749" y="77"/>
                    </a:lnTo>
                    <a:lnTo>
                      <a:pt x="751" y="75"/>
                    </a:lnTo>
                    <a:lnTo>
                      <a:pt x="751" y="72"/>
                    </a:lnTo>
                    <a:lnTo>
                      <a:pt x="749" y="74"/>
                    </a:lnTo>
                    <a:lnTo>
                      <a:pt x="749" y="72"/>
                    </a:lnTo>
                    <a:lnTo>
                      <a:pt x="748" y="74"/>
                    </a:lnTo>
                    <a:lnTo>
                      <a:pt x="748" y="71"/>
                    </a:lnTo>
                    <a:lnTo>
                      <a:pt x="748" y="72"/>
                    </a:lnTo>
                    <a:lnTo>
                      <a:pt x="745" y="69"/>
                    </a:lnTo>
                    <a:lnTo>
                      <a:pt x="741" y="64"/>
                    </a:lnTo>
                    <a:lnTo>
                      <a:pt x="745" y="61"/>
                    </a:lnTo>
                    <a:lnTo>
                      <a:pt x="746" y="62"/>
                    </a:lnTo>
                    <a:lnTo>
                      <a:pt x="745" y="59"/>
                    </a:lnTo>
                    <a:lnTo>
                      <a:pt x="743" y="57"/>
                    </a:lnTo>
                    <a:lnTo>
                      <a:pt x="743" y="61"/>
                    </a:lnTo>
                    <a:lnTo>
                      <a:pt x="741" y="61"/>
                    </a:lnTo>
                    <a:lnTo>
                      <a:pt x="740" y="59"/>
                    </a:lnTo>
                    <a:lnTo>
                      <a:pt x="740" y="57"/>
                    </a:lnTo>
                    <a:lnTo>
                      <a:pt x="735" y="56"/>
                    </a:lnTo>
                    <a:lnTo>
                      <a:pt x="735" y="57"/>
                    </a:lnTo>
                    <a:lnTo>
                      <a:pt x="728" y="52"/>
                    </a:lnTo>
                    <a:lnTo>
                      <a:pt x="733" y="56"/>
                    </a:lnTo>
                    <a:lnTo>
                      <a:pt x="731" y="59"/>
                    </a:lnTo>
                    <a:lnTo>
                      <a:pt x="735" y="57"/>
                    </a:lnTo>
                    <a:lnTo>
                      <a:pt x="733" y="59"/>
                    </a:lnTo>
                    <a:lnTo>
                      <a:pt x="736" y="59"/>
                    </a:lnTo>
                    <a:lnTo>
                      <a:pt x="733" y="59"/>
                    </a:lnTo>
                    <a:lnTo>
                      <a:pt x="735" y="61"/>
                    </a:lnTo>
                    <a:lnTo>
                      <a:pt x="735" y="62"/>
                    </a:lnTo>
                    <a:lnTo>
                      <a:pt x="736" y="61"/>
                    </a:lnTo>
                    <a:lnTo>
                      <a:pt x="733" y="66"/>
                    </a:lnTo>
                    <a:lnTo>
                      <a:pt x="731" y="64"/>
                    </a:lnTo>
                    <a:lnTo>
                      <a:pt x="733" y="66"/>
                    </a:lnTo>
                    <a:lnTo>
                      <a:pt x="733" y="64"/>
                    </a:lnTo>
                    <a:lnTo>
                      <a:pt x="733" y="59"/>
                    </a:lnTo>
                    <a:lnTo>
                      <a:pt x="731" y="61"/>
                    </a:lnTo>
                    <a:lnTo>
                      <a:pt x="730" y="59"/>
                    </a:lnTo>
                    <a:lnTo>
                      <a:pt x="730" y="61"/>
                    </a:lnTo>
                    <a:lnTo>
                      <a:pt x="731" y="62"/>
                    </a:lnTo>
                    <a:lnTo>
                      <a:pt x="731" y="64"/>
                    </a:lnTo>
                    <a:lnTo>
                      <a:pt x="731" y="62"/>
                    </a:lnTo>
                    <a:lnTo>
                      <a:pt x="730" y="61"/>
                    </a:lnTo>
                    <a:lnTo>
                      <a:pt x="730" y="59"/>
                    </a:lnTo>
                    <a:lnTo>
                      <a:pt x="730" y="61"/>
                    </a:lnTo>
                    <a:lnTo>
                      <a:pt x="728" y="61"/>
                    </a:lnTo>
                    <a:lnTo>
                      <a:pt x="728" y="62"/>
                    </a:lnTo>
                    <a:lnTo>
                      <a:pt x="728" y="64"/>
                    </a:lnTo>
                    <a:lnTo>
                      <a:pt x="728" y="62"/>
                    </a:lnTo>
                    <a:lnTo>
                      <a:pt x="728" y="61"/>
                    </a:lnTo>
                    <a:lnTo>
                      <a:pt x="728" y="59"/>
                    </a:lnTo>
                    <a:lnTo>
                      <a:pt x="730" y="61"/>
                    </a:lnTo>
                    <a:lnTo>
                      <a:pt x="730" y="59"/>
                    </a:lnTo>
                    <a:lnTo>
                      <a:pt x="728" y="57"/>
                    </a:lnTo>
                    <a:lnTo>
                      <a:pt x="730" y="59"/>
                    </a:lnTo>
                    <a:lnTo>
                      <a:pt x="728" y="59"/>
                    </a:lnTo>
                    <a:lnTo>
                      <a:pt x="728" y="61"/>
                    </a:lnTo>
                    <a:lnTo>
                      <a:pt x="728" y="62"/>
                    </a:lnTo>
                    <a:lnTo>
                      <a:pt x="728" y="59"/>
                    </a:lnTo>
                    <a:lnTo>
                      <a:pt x="726" y="59"/>
                    </a:lnTo>
                    <a:lnTo>
                      <a:pt x="726" y="57"/>
                    </a:lnTo>
                    <a:lnTo>
                      <a:pt x="722" y="56"/>
                    </a:lnTo>
                    <a:lnTo>
                      <a:pt x="720" y="52"/>
                    </a:lnTo>
                    <a:lnTo>
                      <a:pt x="713" y="57"/>
                    </a:lnTo>
                    <a:lnTo>
                      <a:pt x="708" y="59"/>
                    </a:lnTo>
                    <a:lnTo>
                      <a:pt x="707" y="57"/>
                    </a:lnTo>
                    <a:lnTo>
                      <a:pt x="705" y="57"/>
                    </a:lnTo>
                    <a:lnTo>
                      <a:pt x="700" y="61"/>
                    </a:lnTo>
                    <a:lnTo>
                      <a:pt x="700" y="59"/>
                    </a:lnTo>
                    <a:lnTo>
                      <a:pt x="699" y="56"/>
                    </a:lnTo>
                    <a:lnTo>
                      <a:pt x="695" y="56"/>
                    </a:lnTo>
                    <a:lnTo>
                      <a:pt x="692" y="56"/>
                    </a:lnTo>
                    <a:lnTo>
                      <a:pt x="690" y="57"/>
                    </a:lnTo>
                    <a:lnTo>
                      <a:pt x="690" y="61"/>
                    </a:lnTo>
                    <a:lnTo>
                      <a:pt x="689" y="71"/>
                    </a:lnTo>
                    <a:lnTo>
                      <a:pt x="689" y="74"/>
                    </a:lnTo>
                    <a:lnTo>
                      <a:pt x="680" y="75"/>
                    </a:lnTo>
                    <a:lnTo>
                      <a:pt x="682" y="80"/>
                    </a:lnTo>
                    <a:lnTo>
                      <a:pt x="677" y="85"/>
                    </a:lnTo>
                    <a:lnTo>
                      <a:pt x="684" y="94"/>
                    </a:lnTo>
                    <a:lnTo>
                      <a:pt x="685" y="97"/>
                    </a:lnTo>
                    <a:lnTo>
                      <a:pt x="672" y="107"/>
                    </a:lnTo>
                    <a:lnTo>
                      <a:pt x="671" y="105"/>
                    </a:lnTo>
                    <a:lnTo>
                      <a:pt x="667" y="105"/>
                    </a:lnTo>
                    <a:lnTo>
                      <a:pt x="667" y="103"/>
                    </a:lnTo>
                    <a:lnTo>
                      <a:pt x="664" y="103"/>
                    </a:lnTo>
                    <a:lnTo>
                      <a:pt x="661" y="94"/>
                    </a:lnTo>
                    <a:lnTo>
                      <a:pt x="659" y="90"/>
                    </a:lnTo>
                    <a:lnTo>
                      <a:pt x="661" y="89"/>
                    </a:lnTo>
                    <a:lnTo>
                      <a:pt x="651" y="87"/>
                    </a:lnTo>
                    <a:lnTo>
                      <a:pt x="648" y="77"/>
                    </a:lnTo>
                    <a:lnTo>
                      <a:pt x="641" y="75"/>
                    </a:lnTo>
                    <a:lnTo>
                      <a:pt x="643" y="62"/>
                    </a:lnTo>
                    <a:lnTo>
                      <a:pt x="639" y="52"/>
                    </a:lnTo>
                    <a:lnTo>
                      <a:pt x="641" y="49"/>
                    </a:lnTo>
                    <a:lnTo>
                      <a:pt x="638" y="49"/>
                    </a:lnTo>
                    <a:lnTo>
                      <a:pt x="638" y="48"/>
                    </a:lnTo>
                    <a:lnTo>
                      <a:pt x="649" y="31"/>
                    </a:lnTo>
                    <a:lnTo>
                      <a:pt x="646" y="26"/>
                    </a:lnTo>
                    <a:lnTo>
                      <a:pt x="639" y="26"/>
                    </a:lnTo>
                    <a:lnTo>
                      <a:pt x="636" y="28"/>
                    </a:lnTo>
                    <a:lnTo>
                      <a:pt x="631" y="16"/>
                    </a:lnTo>
                    <a:lnTo>
                      <a:pt x="626" y="18"/>
                    </a:lnTo>
                    <a:lnTo>
                      <a:pt x="628" y="13"/>
                    </a:lnTo>
                    <a:lnTo>
                      <a:pt x="625" y="13"/>
                    </a:lnTo>
                    <a:lnTo>
                      <a:pt x="623" y="11"/>
                    </a:lnTo>
                    <a:lnTo>
                      <a:pt x="620" y="10"/>
                    </a:lnTo>
                    <a:lnTo>
                      <a:pt x="615" y="6"/>
                    </a:lnTo>
                    <a:lnTo>
                      <a:pt x="613" y="1"/>
                    </a:lnTo>
                    <a:lnTo>
                      <a:pt x="613" y="3"/>
                    </a:lnTo>
                    <a:lnTo>
                      <a:pt x="611" y="1"/>
                    </a:lnTo>
                    <a:lnTo>
                      <a:pt x="610" y="1"/>
                    </a:lnTo>
                    <a:lnTo>
                      <a:pt x="608" y="0"/>
                    </a:lnTo>
                    <a:lnTo>
                      <a:pt x="607" y="0"/>
                    </a:lnTo>
                    <a:lnTo>
                      <a:pt x="608" y="11"/>
                    </a:lnTo>
                    <a:lnTo>
                      <a:pt x="608" y="15"/>
                    </a:lnTo>
                    <a:lnTo>
                      <a:pt x="607" y="15"/>
                    </a:lnTo>
                    <a:lnTo>
                      <a:pt x="605" y="15"/>
                    </a:lnTo>
                    <a:lnTo>
                      <a:pt x="603" y="18"/>
                    </a:lnTo>
                    <a:lnTo>
                      <a:pt x="605" y="18"/>
                    </a:lnTo>
                    <a:lnTo>
                      <a:pt x="600" y="26"/>
                    </a:lnTo>
                    <a:lnTo>
                      <a:pt x="597" y="33"/>
                    </a:lnTo>
                    <a:lnTo>
                      <a:pt x="592" y="33"/>
                    </a:lnTo>
                    <a:lnTo>
                      <a:pt x="593" y="34"/>
                    </a:lnTo>
                    <a:lnTo>
                      <a:pt x="592" y="34"/>
                    </a:lnTo>
                    <a:lnTo>
                      <a:pt x="567" y="31"/>
                    </a:lnTo>
                    <a:lnTo>
                      <a:pt x="564" y="24"/>
                    </a:lnTo>
                    <a:lnTo>
                      <a:pt x="561" y="26"/>
                    </a:lnTo>
                    <a:lnTo>
                      <a:pt x="556" y="34"/>
                    </a:lnTo>
                    <a:lnTo>
                      <a:pt x="554" y="33"/>
                    </a:lnTo>
                    <a:lnTo>
                      <a:pt x="551" y="34"/>
                    </a:lnTo>
                    <a:lnTo>
                      <a:pt x="551" y="39"/>
                    </a:lnTo>
                    <a:lnTo>
                      <a:pt x="547" y="41"/>
                    </a:lnTo>
                    <a:lnTo>
                      <a:pt x="544" y="41"/>
                    </a:lnTo>
                    <a:lnTo>
                      <a:pt x="542" y="41"/>
                    </a:lnTo>
                    <a:lnTo>
                      <a:pt x="539" y="46"/>
                    </a:lnTo>
                    <a:lnTo>
                      <a:pt x="564" y="41"/>
                    </a:lnTo>
                    <a:lnTo>
                      <a:pt x="567" y="48"/>
                    </a:lnTo>
                    <a:lnTo>
                      <a:pt x="569" y="48"/>
                    </a:lnTo>
                    <a:lnTo>
                      <a:pt x="570" y="49"/>
                    </a:lnTo>
                    <a:lnTo>
                      <a:pt x="572" y="57"/>
                    </a:lnTo>
                    <a:lnTo>
                      <a:pt x="559" y="62"/>
                    </a:lnTo>
                    <a:lnTo>
                      <a:pt x="547" y="62"/>
                    </a:lnTo>
                    <a:lnTo>
                      <a:pt x="542" y="66"/>
                    </a:lnTo>
                    <a:lnTo>
                      <a:pt x="546" y="71"/>
                    </a:lnTo>
                    <a:lnTo>
                      <a:pt x="542" y="79"/>
                    </a:lnTo>
                    <a:lnTo>
                      <a:pt x="549" y="82"/>
                    </a:lnTo>
                    <a:lnTo>
                      <a:pt x="521" y="92"/>
                    </a:lnTo>
                    <a:lnTo>
                      <a:pt x="505" y="94"/>
                    </a:lnTo>
                    <a:lnTo>
                      <a:pt x="493" y="92"/>
                    </a:lnTo>
                    <a:lnTo>
                      <a:pt x="493" y="89"/>
                    </a:lnTo>
                    <a:lnTo>
                      <a:pt x="493" y="87"/>
                    </a:lnTo>
                    <a:lnTo>
                      <a:pt x="492" y="87"/>
                    </a:lnTo>
                    <a:lnTo>
                      <a:pt x="492" y="84"/>
                    </a:lnTo>
                    <a:lnTo>
                      <a:pt x="493" y="84"/>
                    </a:lnTo>
                    <a:lnTo>
                      <a:pt x="492" y="84"/>
                    </a:lnTo>
                    <a:lnTo>
                      <a:pt x="492" y="82"/>
                    </a:lnTo>
                    <a:lnTo>
                      <a:pt x="492" y="80"/>
                    </a:lnTo>
                    <a:lnTo>
                      <a:pt x="493" y="80"/>
                    </a:lnTo>
                    <a:lnTo>
                      <a:pt x="493" y="79"/>
                    </a:lnTo>
                    <a:lnTo>
                      <a:pt x="492" y="77"/>
                    </a:lnTo>
                    <a:lnTo>
                      <a:pt x="493" y="75"/>
                    </a:lnTo>
                    <a:lnTo>
                      <a:pt x="493" y="74"/>
                    </a:lnTo>
                    <a:lnTo>
                      <a:pt x="495" y="72"/>
                    </a:lnTo>
                    <a:lnTo>
                      <a:pt x="495" y="61"/>
                    </a:lnTo>
                    <a:lnTo>
                      <a:pt x="493" y="61"/>
                    </a:lnTo>
                    <a:lnTo>
                      <a:pt x="480" y="61"/>
                    </a:lnTo>
                    <a:lnTo>
                      <a:pt x="477" y="61"/>
                    </a:lnTo>
                    <a:lnTo>
                      <a:pt x="473" y="57"/>
                    </a:lnTo>
                    <a:lnTo>
                      <a:pt x="469" y="59"/>
                    </a:lnTo>
                    <a:lnTo>
                      <a:pt x="455" y="56"/>
                    </a:lnTo>
                    <a:lnTo>
                      <a:pt x="450" y="67"/>
                    </a:lnTo>
                    <a:lnTo>
                      <a:pt x="449" y="67"/>
                    </a:lnTo>
                    <a:lnTo>
                      <a:pt x="446" y="67"/>
                    </a:lnTo>
                    <a:lnTo>
                      <a:pt x="442" y="74"/>
                    </a:lnTo>
                    <a:lnTo>
                      <a:pt x="444" y="80"/>
                    </a:lnTo>
                    <a:lnTo>
                      <a:pt x="441" y="80"/>
                    </a:lnTo>
                    <a:lnTo>
                      <a:pt x="439" y="82"/>
                    </a:lnTo>
                    <a:lnTo>
                      <a:pt x="439" y="90"/>
                    </a:lnTo>
                    <a:lnTo>
                      <a:pt x="434" y="94"/>
                    </a:lnTo>
                    <a:lnTo>
                      <a:pt x="431" y="102"/>
                    </a:lnTo>
                    <a:lnTo>
                      <a:pt x="426" y="102"/>
                    </a:lnTo>
                    <a:lnTo>
                      <a:pt x="426" y="105"/>
                    </a:lnTo>
                    <a:lnTo>
                      <a:pt x="427" y="112"/>
                    </a:lnTo>
                    <a:lnTo>
                      <a:pt x="431" y="115"/>
                    </a:lnTo>
                    <a:lnTo>
                      <a:pt x="436" y="118"/>
                    </a:lnTo>
                    <a:lnTo>
                      <a:pt x="437" y="118"/>
                    </a:lnTo>
                    <a:lnTo>
                      <a:pt x="437" y="120"/>
                    </a:lnTo>
                    <a:lnTo>
                      <a:pt x="437" y="123"/>
                    </a:lnTo>
                    <a:lnTo>
                      <a:pt x="437" y="125"/>
                    </a:lnTo>
                    <a:lnTo>
                      <a:pt x="439" y="125"/>
                    </a:lnTo>
                    <a:lnTo>
                      <a:pt x="441" y="128"/>
                    </a:lnTo>
                    <a:lnTo>
                      <a:pt x="442" y="130"/>
                    </a:lnTo>
                    <a:lnTo>
                      <a:pt x="442" y="133"/>
                    </a:lnTo>
                    <a:lnTo>
                      <a:pt x="437" y="135"/>
                    </a:lnTo>
                    <a:lnTo>
                      <a:pt x="437" y="136"/>
                    </a:lnTo>
                    <a:lnTo>
                      <a:pt x="441" y="136"/>
                    </a:lnTo>
                    <a:lnTo>
                      <a:pt x="442" y="140"/>
                    </a:lnTo>
                    <a:lnTo>
                      <a:pt x="439" y="141"/>
                    </a:lnTo>
                    <a:lnTo>
                      <a:pt x="437" y="148"/>
                    </a:lnTo>
                    <a:lnTo>
                      <a:pt x="441" y="149"/>
                    </a:lnTo>
                    <a:lnTo>
                      <a:pt x="442" y="148"/>
                    </a:lnTo>
                    <a:lnTo>
                      <a:pt x="444" y="148"/>
                    </a:lnTo>
                    <a:lnTo>
                      <a:pt x="449" y="154"/>
                    </a:lnTo>
                    <a:lnTo>
                      <a:pt x="446" y="158"/>
                    </a:lnTo>
                    <a:lnTo>
                      <a:pt x="449" y="161"/>
                    </a:lnTo>
                    <a:lnTo>
                      <a:pt x="449" y="163"/>
                    </a:lnTo>
                    <a:lnTo>
                      <a:pt x="447" y="166"/>
                    </a:lnTo>
                    <a:lnTo>
                      <a:pt x="446" y="168"/>
                    </a:lnTo>
                    <a:lnTo>
                      <a:pt x="447" y="171"/>
                    </a:lnTo>
                    <a:lnTo>
                      <a:pt x="450" y="171"/>
                    </a:lnTo>
                    <a:lnTo>
                      <a:pt x="449" y="174"/>
                    </a:lnTo>
                    <a:lnTo>
                      <a:pt x="450" y="179"/>
                    </a:lnTo>
                    <a:lnTo>
                      <a:pt x="452" y="182"/>
                    </a:lnTo>
                    <a:lnTo>
                      <a:pt x="450" y="189"/>
                    </a:lnTo>
                    <a:lnTo>
                      <a:pt x="449" y="191"/>
                    </a:lnTo>
                    <a:lnTo>
                      <a:pt x="449" y="187"/>
                    </a:lnTo>
                    <a:lnTo>
                      <a:pt x="446" y="186"/>
                    </a:lnTo>
                    <a:lnTo>
                      <a:pt x="444" y="191"/>
                    </a:lnTo>
                    <a:lnTo>
                      <a:pt x="442" y="194"/>
                    </a:lnTo>
                    <a:lnTo>
                      <a:pt x="441" y="195"/>
                    </a:lnTo>
                    <a:lnTo>
                      <a:pt x="446" y="202"/>
                    </a:lnTo>
                    <a:lnTo>
                      <a:pt x="442" y="209"/>
                    </a:lnTo>
                    <a:lnTo>
                      <a:pt x="444" y="212"/>
                    </a:lnTo>
                    <a:lnTo>
                      <a:pt x="444" y="214"/>
                    </a:lnTo>
                    <a:lnTo>
                      <a:pt x="441" y="214"/>
                    </a:lnTo>
                    <a:lnTo>
                      <a:pt x="442" y="217"/>
                    </a:lnTo>
                    <a:lnTo>
                      <a:pt x="441" y="219"/>
                    </a:lnTo>
                    <a:lnTo>
                      <a:pt x="442" y="222"/>
                    </a:lnTo>
                    <a:lnTo>
                      <a:pt x="442" y="223"/>
                    </a:lnTo>
                    <a:lnTo>
                      <a:pt x="441" y="225"/>
                    </a:lnTo>
                    <a:lnTo>
                      <a:pt x="441" y="227"/>
                    </a:lnTo>
                    <a:lnTo>
                      <a:pt x="439" y="230"/>
                    </a:lnTo>
                    <a:lnTo>
                      <a:pt x="441" y="233"/>
                    </a:lnTo>
                    <a:lnTo>
                      <a:pt x="442" y="235"/>
                    </a:lnTo>
                    <a:lnTo>
                      <a:pt x="441" y="237"/>
                    </a:lnTo>
                    <a:lnTo>
                      <a:pt x="442" y="240"/>
                    </a:lnTo>
                    <a:lnTo>
                      <a:pt x="441" y="242"/>
                    </a:lnTo>
                    <a:lnTo>
                      <a:pt x="442" y="245"/>
                    </a:lnTo>
                    <a:lnTo>
                      <a:pt x="441" y="246"/>
                    </a:lnTo>
                    <a:lnTo>
                      <a:pt x="437" y="245"/>
                    </a:lnTo>
                    <a:lnTo>
                      <a:pt x="437" y="242"/>
                    </a:lnTo>
                    <a:lnTo>
                      <a:pt x="431" y="242"/>
                    </a:lnTo>
                    <a:lnTo>
                      <a:pt x="427" y="242"/>
                    </a:lnTo>
                    <a:lnTo>
                      <a:pt x="426" y="243"/>
                    </a:lnTo>
                    <a:lnTo>
                      <a:pt x="424" y="243"/>
                    </a:lnTo>
                    <a:lnTo>
                      <a:pt x="423" y="240"/>
                    </a:lnTo>
                    <a:lnTo>
                      <a:pt x="423" y="237"/>
                    </a:lnTo>
                    <a:lnTo>
                      <a:pt x="421" y="237"/>
                    </a:lnTo>
                    <a:lnTo>
                      <a:pt x="423" y="235"/>
                    </a:lnTo>
                    <a:lnTo>
                      <a:pt x="416" y="233"/>
                    </a:lnTo>
                    <a:lnTo>
                      <a:pt x="416" y="235"/>
                    </a:lnTo>
                    <a:lnTo>
                      <a:pt x="413" y="237"/>
                    </a:lnTo>
                    <a:lnTo>
                      <a:pt x="409" y="235"/>
                    </a:lnTo>
                    <a:lnTo>
                      <a:pt x="401" y="230"/>
                    </a:lnTo>
                    <a:lnTo>
                      <a:pt x="398" y="232"/>
                    </a:lnTo>
                    <a:lnTo>
                      <a:pt x="385" y="235"/>
                    </a:lnTo>
                    <a:lnTo>
                      <a:pt x="381" y="237"/>
                    </a:lnTo>
                    <a:lnTo>
                      <a:pt x="381" y="230"/>
                    </a:lnTo>
                    <a:lnTo>
                      <a:pt x="381" y="228"/>
                    </a:lnTo>
                    <a:lnTo>
                      <a:pt x="375" y="223"/>
                    </a:lnTo>
                    <a:lnTo>
                      <a:pt x="360" y="222"/>
                    </a:lnTo>
                    <a:lnTo>
                      <a:pt x="358" y="220"/>
                    </a:lnTo>
                    <a:lnTo>
                      <a:pt x="355" y="217"/>
                    </a:lnTo>
                    <a:lnTo>
                      <a:pt x="354" y="209"/>
                    </a:lnTo>
                    <a:lnTo>
                      <a:pt x="345" y="214"/>
                    </a:lnTo>
                    <a:lnTo>
                      <a:pt x="339" y="220"/>
                    </a:lnTo>
                    <a:lnTo>
                      <a:pt x="327" y="223"/>
                    </a:lnTo>
                    <a:lnTo>
                      <a:pt x="324" y="227"/>
                    </a:lnTo>
                    <a:lnTo>
                      <a:pt x="321" y="227"/>
                    </a:lnTo>
                    <a:lnTo>
                      <a:pt x="321" y="230"/>
                    </a:lnTo>
                    <a:lnTo>
                      <a:pt x="314" y="230"/>
                    </a:lnTo>
                    <a:lnTo>
                      <a:pt x="306" y="232"/>
                    </a:lnTo>
                    <a:lnTo>
                      <a:pt x="293" y="235"/>
                    </a:lnTo>
                    <a:lnTo>
                      <a:pt x="289" y="233"/>
                    </a:lnTo>
                    <a:lnTo>
                      <a:pt x="289" y="232"/>
                    </a:lnTo>
                    <a:lnTo>
                      <a:pt x="293" y="223"/>
                    </a:lnTo>
                    <a:lnTo>
                      <a:pt x="291" y="223"/>
                    </a:lnTo>
                    <a:lnTo>
                      <a:pt x="291" y="222"/>
                    </a:lnTo>
                    <a:lnTo>
                      <a:pt x="289" y="219"/>
                    </a:lnTo>
                    <a:lnTo>
                      <a:pt x="289" y="217"/>
                    </a:lnTo>
                    <a:lnTo>
                      <a:pt x="289" y="214"/>
                    </a:lnTo>
                    <a:lnTo>
                      <a:pt x="293" y="209"/>
                    </a:lnTo>
                    <a:lnTo>
                      <a:pt x="301" y="207"/>
                    </a:lnTo>
                    <a:lnTo>
                      <a:pt x="299" y="204"/>
                    </a:lnTo>
                    <a:lnTo>
                      <a:pt x="304" y="199"/>
                    </a:lnTo>
                    <a:lnTo>
                      <a:pt x="301" y="194"/>
                    </a:lnTo>
                    <a:lnTo>
                      <a:pt x="303" y="189"/>
                    </a:lnTo>
                    <a:lnTo>
                      <a:pt x="303" y="187"/>
                    </a:lnTo>
                    <a:lnTo>
                      <a:pt x="303" y="184"/>
                    </a:lnTo>
                    <a:lnTo>
                      <a:pt x="301" y="182"/>
                    </a:lnTo>
                    <a:lnTo>
                      <a:pt x="298" y="184"/>
                    </a:lnTo>
                    <a:lnTo>
                      <a:pt x="293" y="179"/>
                    </a:lnTo>
                    <a:lnTo>
                      <a:pt x="293" y="184"/>
                    </a:lnTo>
                    <a:lnTo>
                      <a:pt x="286" y="184"/>
                    </a:lnTo>
                    <a:lnTo>
                      <a:pt x="283" y="181"/>
                    </a:lnTo>
                    <a:lnTo>
                      <a:pt x="278" y="184"/>
                    </a:lnTo>
                    <a:lnTo>
                      <a:pt x="275" y="184"/>
                    </a:lnTo>
                    <a:lnTo>
                      <a:pt x="266" y="179"/>
                    </a:lnTo>
                    <a:lnTo>
                      <a:pt x="265" y="181"/>
                    </a:lnTo>
                    <a:lnTo>
                      <a:pt x="260" y="177"/>
                    </a:lnTo>
                    <a:lnTo>
                      <a:pt x="260" y="172"/>
                    </a:lnTo>
                    <a:lnTo>
                      <a:pt x="262" y="171"/>
                    </a:lnTo>
                    <a:lnTo>
                      <a:pt x="258" y="166"/>
                    </a:lnTo>
                    <a:lnTo>
                      <a:pt x="253" y="166"/>
                    </a:lnTo>
                    <a:lnTo>
                      <a:pt x="255" y="168"/>
                    </a:lnTo>
                    <a:lnTo>
                      <a:pt x="253" y="169"/>
                    </a:lnTo>
                    <a:lnTo>
                      <a:pt x="250" y="171"/>
                    </a:lnTo>
                    <a:lnTo>
                      <a:pt x="250" y="169"/>
                    </a:lnTo>
                    <a:lnTo>
                      <a:pt x="248" y="171"/>
                    </a:lnTo>
                    <a:lnTo>
                      <a:pt x="245" y="174"/>
                    </a:lnTo>
                    <a:lnTo>
                      <a:pt x="243" y="176"/>
                    </a:lnTo>
                    <a:lnTo>
                      <a:pt x="240" y="174"/>
                    </a:lnTo>
                    <a:lnTo>
                      <a:pt x="237" y="174"/>
                    </a:lnTo>
                    <a:lnTo>
                      <a:pt x="237" y="176"/>
                    </a:lnTo>
                    <a:lnTo>
                      <a:pt x="237" y="177"/>
                    </a:lnTo>
                    <a:lnTo>
                      <a:pt x="232" y="176"/>
                    </a:lnTo>
                    <a:lnTo>
                      <a:pt x="229" y="176"/>
                    </a:lnTo>
                    <a:lnTo>
                      <a:pt x="225" y="172"/>
                    </a:lnTo>
                    <a:lnTo>
                      <a:pt x="227" y="164"/>
                    </a:lnTo>
                    <a:lnTo>
                      <a:pt x="225" y="164"/>
                    </a:lnTo>
                    <a:lnTo>
                      <a:pt x="224" y="164"/>
                    </a:lnTo>
                    <a:lnTo>
                      <a:pt x="220" y="161"/>
                    </a:lnTo>
                    <a:lnTo>
                      <a:pt x="219" y="161"/>
                    </a:lnTo>
                    <a:lnTo>
                      <a:pt x="219" y="164"/>
                    </a:lnTo>
                    <a:lnTo>
                      <a:pt x="216" y="166"/>
                    </a:lnTo>
                    <a:lnTo>
                      <a:pt x="212" y="164"/>
                    </a:lnTo>
                    <a:lnTo>
                      <a:pt x="209" y="164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202" y="169"/>
                    </a:lnTo>
                    <a:lnTo>
                      <a:pt x="201" y="169"/>
                    </a:lnTo>
                    <a:lnTo>
                      <a:pt x="204" y="172"/>
                    </a:lnTo>
                    <a:lnTo>
                      <a:pt x="201" y="174"/>
                    </a:lnTo>
                    <a:lnTo>
                      <a:pt x="199" y="176"/>
                    </a:lnTo>
                    <a:lnTo>
                      <a:pt x="197" y="176"/>
                    </a:lnTo>
                    <a:lnTo>
                      <a:pt x="197" y="174"/>
                    </a:lnTo>
                    <a:lnTo>
                      <a:pt x="196" y="174"/>
                    </a:lnTo>
                    <a:lnTo>
                      <a:pt x="194" y="174"/>
                    </a:lnTo>
                    <a:lnTo>
                      <a:pt x="191" y="176"/>
                    </a:lnTo>
                    <a:lnTo>
                      <a:pt x="186" y="176"/>
                    </a:lnTo>
                    <a:lnTo>
                      <a:pt x="184" y="176"/>
                    </a:lnTo>
                    <a:lnTo>
                      <a:pt x="181" y="179"/>
                    </a:lnTo>
                    <a:lnTo>
                      <a:pt x="179" y="179"/>
                    </a:lnTo>
                    <a:lnTo>
                      <a:pt x="178" y="179"/>
                    </a:lnTo>
                    <a:lnTo>
                      <a:pt x="176" y="181"/>
                    </a:lnTo>
                    <a:lnTo>
                      <a:pt x="174" y="182"/>
                    </a:lnTo>
                    <a:lnTo>
                      <a:pt x="171" y="182"/>
                    </a:lnTo>
                    <a:lnTo>
                      <a:pt x="168" y="182"/>
                    </a:lnTo>
                    <a:lnTo>
                      <a:pt x="166" y="182"/>
                    </a:lnTo>
                    <a:lnTo>
                      <a:pt x="168" y="179"/>
                    </a:lnTo>
                    <a:lnTo>
                      <a:pt x="166" y="176"/>
                    </a:lnTo>
                    <a:lnTo>
                      <a:pt x="160" y="179"/>
                    </a:lnTo>
                    <a:lnTo>
                      <a:pt x="158" y="176"/>
                    </a:lnTo>
                    <a:lnTo>
                      <a:pt x="160" y="176"/>
                    </a:lnTo>
                    <a:lnTo>
                      <a:pt x="158" y="172"/>
                    </a:lnTo>
                    <a:lnTo>
                      <a:pt x="153" y="179"/>
                    </a:lnTo>
                    <a:lnTo>
                      <a:pt x="153" y="176"/>
                    </a:lnTo>
                    <a:lnTo>
                      <a:pt x="150" y="172"/>
                    </a:lnTo>
                    <a:lnTo>
                      <a:pt x="143" y="176"/>
                    </a:lnTo>
                    <a:lnTo>
                      <a:pt x="142" y="174"/>
                    </a:lnTo>
                    <a:lnTo>
                      <a:pt x="145" y="166"/>
                    </a:lnTo>
                    <a:lnTo>
                      <a:pt x="148" y="161"/>
                    </a:lnTo>
                    <a:lnTo>
                      <a:pt x="151" y="161"/>
                    </a:lnTo>
                    <a:lnTo>
                      <a:pt x="156" y="159"/>
                    </a:lnTo>
                    <a:lnTo>
                      <a:pt x="143" y="154"/>
                    </a:lnTo>
                    <a:lnTo>
                      <a:pt x="142" y="153"/>
                    </a:lnTo>
                    <a:lnTo>
                      <a:pt x="132" y="148"/>
                    </a:lnTo>
                    <a:lnTo>
                      <a:pt x="130" y="146"/>
                    </a:lnTo>
                    <a:lnTo>
                      <a:pt x="132" y="141"/>
                    </a:lnTo>
                    <a:lnTo>
                      <a:pt x="133" y="136"/>
                    </a:lnTo>
                    <a:lnTo>
                      <a:pt x="133" y="131"/>
                    </a:lnTo>
                    <a:lnTo>
                      <a:pt x="132" y="131"/>
                    </a:lnTo>
                    <a:lnTo>
                      <a:pt x="128" y="131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15" y="123"/>
                    </a:lnTo>
                    <a:lnTo>
                      <a:pt x="117" y="118"/>
                    </a:lnTo>
                    <a:lnTo>
                      <a:pt x="115" y="117"/>
                    </a:lnTo>
                    <a:lnTo>
                      <a:pt x="112" y="115"/>
                    </a:lnTo>
                    <a:lnTo>
                      <a:pt x="107" y="118"/>
                    </a:lnTo>
                    <a:lnTo>
                      <a:pt x="104" y="115"/>
                    </a:lnTo>
                    <a:lnTo>
                      <a:pt x="101" y="112"/>
                    </a:lnTo>
                    <a:lnTo>
                      <a:pt x="102" y="108"/>
                    </a:lnTo>
                    <a:lnTo>
                      <a:pt x="101" y="103"/>
                    </a:lnTo>
                    <a:lnTo>
                      <a:pt x="102" y="100"/>
                    </a:lnTo>
                    <a:lnTo>
                      <a:pt x="101" y="95"/>
                    </a:lnTo>
                    <a:lnTo>
                      <a:pt x="101" y="89"/>
                    </a:lnTo>
                    <a:lnTo>
                      <a:pt x="94" y="89"/>
                    </a:lnTo>
                    <a:lnTo>
                      <a:pt x="89" y="82"/>
                    </a:lnTo>
                    <a:lnTo>
                      <a:pt x="86" y="82"/>
                    </a:lnTo>
                    <a:lnTo>
                      <a:pt x="82" y="79"/>
                    </a:lnTo>
                    <a:lnTo>
                      <a:pt x="78" y="80"/>
                    </a:lnTo>
                    <a:lnTo>
                      <a:pt x="78" y="85"/>
                    </a:lnTo>
                    <a:lnTo>
                      <a:pt x="73" y="90"/>
                    </a:lnTo>
                    <a:lnTo>
                      <a:pt x="68" y="89"/>
                    </a:lnTo>
                    <a:lnTo>
                      <a:pt x="64" y="92"/>
                    </a:lnTo>
                    <a:lnTo>
                      <a:pt x="61" y="92"/>
                    </a:lnTo>
                    <a:lnTo>
                      <a:pt x="59" y="95"/>
                    </a:lnTo>
                    <a:lnTo>
                      <a:pt x="64" y="98"/>
                    </a:lnTo>
                    <a:lnTo>
                      <a:pt x="58" y="107"/>
                    </a:lnTo>
                    <a:lnTo>
                      <a:pt x="59" y="112"/>
                    </a:lnTo>
                    <a:lnTo>
                      <a:pt x="55" y="112"/>
                    </a:lnTo>
                    <a:lnTo>
                      <a:pt x="50" y="115"/>
                    </a:lnTo>
                    <a:lnTo>
                      <a:pt x="45" y="120"/>
                    </a:lnTo>
                    <a:lnTo>
                      <a:pt x="40" y="120"/>
                    </a:lnTo>
                    <a:lnTo>
                      <a:pt x="36" y="121"/>
                    </a:lnTo>
                    <a:lnTo>
                      <a:pt x="27" y="121"/>
                    </a:lnTo>
                    <a:lnTo>
                      <a:pt x="20" y="115"/>
                    </a:lnTo>
                    <a:lnTo>
                      <a:pt x="18" y="118"/>
                    </a:lnTo>
                    <a:lnTo>
                      <a:pt x="15" y="118"/>
                    </a:lnTo>
                    <a:lnTo>
                      <a:pt x="10" y="133"/>
                    </a:lnTo>
                    <a:lnTo>
                      <a:pt x="10" y="135"/>
                    </a:lnTo>
                    <a:lnTo>
                      <a:pt x="5" y="138"/>
                    </a:lnTo>
                    <a:lnTo>
                      <a:pt x="7" y="140"/>
                    </a:lnTo>
                    <a:lnTo>
                      <a:pt x="5" y="141"/>
                    </a:lnTo>
                    <a:lnTo>
                      <a:pt x="0" y="141"/>
                    </a:lnTo>
                    <a:lnTo>
                      <a:pt x="2" y="145"/>
                    </a:lnTo>
                    <a:lnTo>
                      <a:pt x="2" y="148"/>
                    </a:lnTo>
                    <a:lnTo>
                      <a:pt x="4" y="148"/>
                    </a:lnTo>
                    <a:lnTo>
                      <a:pt x="5" y="146"/>
                    </a:lnTo>
                    <a:lnTo>
                      <a:pt x="7" y="148"/>
                    </a:lnTo>
                    <a:lnTo>
                      <a:pt x="9" y="149"/>
                    </a:lnTo>
                    <a:lnTo>
                      <a:pt x="10" y="153"/>
                    </a:lnTo>
                    <a:lnTo>
                      <a:pt x="10" y="159"/>
                    </a:lnTo>
                    <a:lnTo>
                      <a:pt x="7" y="163"/>
                    </a:lnTo>
                    <a:lnTo>
                      <a:pt x="7" y="166"/>
                    </a:lnTo>
                    <a:lnTo>
                      <a:pt x="9" y="168"/>
                    </a:lnTo>
                    <a:lnTo>
                      <a:pt x="9" y="171"/>
                    </a:lnTo>
                    <a:lnTo>
                      <a:pt x="12" y="174"/>
                    </a:lnTo>
                    <a:lnTo>
                      <a:pt x="9" y="184"/>
                    </a:lnTo>
                    <a:lnTo>
                      <a:pt x="10" y="200"/>
                    </a:lnTo>
                    <a:lnTo>
                      <a:pt x="10" y="202"/>
                    </a:lnTo>
                    <a:lnTo>
                      <a:pt x="9" y="209"/>
                    </a:lnTo>
                    <a:lnTo>
                      <a:pt x="12" y="212"/>
                    </a:lnTo>
                    <a:lnTo>
                      <a:pt x="12" y="219"/>
                    </a:lnTo>
                    <a:lnTo>
                      <a:pt x="18" y="222"/>
                    </a:lnTo>
                    <a:lnTo>
                      <a:pt x="22" y="227"/>
                    </a:lnTo>
                    <a:lnTo>
                      <a:pt x="20" y="228"/>
                    </a:lnTo>
                    <a:lnTo>
                      <a:pt x="15" y="232"/>
                    </a:lnTo>
                    <a:lnTo>
                      <a:pt x="17" y="237"/>
                    </a:lnTo>
                    <a:lnTo>
                      <a:pt x="25" y="228"/>
                    </a:lnTo>
                    <a:lnTo>
                      <a:pt x="27" y="230"/>
                    </a:lnTo>
                    <a:lnTo>
                      <a:pt x="28" y="237"/>
                    </a:lnTo>
                    <a:lnTo>
                      <a:pt x="35" y="238"/>
                    </a:lnTo>
                    <a:lnTo>
                      <a:pt x="40" y="243"/>
                    </a:lnTo>
                    <a:lnTo>
                      <a:pt x="46" y="245"/>
                    </a:lnTo>
                    <a:lnTo>
                      <a:pt x="48" y="245"/>
                    </a:lnTo>
                    <a:lnTo>
                      <a:pt x="53" y="246"/>
                    </a:lnTo>
                    <a:lnTo>
                      <a:pt x="56" y="246"/>
                    </a:lnTo>
                    <a:lnTo>
                      <a:pt x="63" y="253"/>
                    </a:lnTo>
                    <a:lnTo>
                      <a:pt x="71" y="260"/>
                    </a:lnTo>
                    <a:lnTo>
                      <a:pt x="73" y="263"/>
                    </a:lnTo>
                    <a:lnTo>
                      <a:pt x="78" y="268"/>
                    </a:lnTo>
                    <a:lnTo>
                      <a:pt x="78" y="269"/>
                    </a:lnTo>
                    <a:lnTo>
                      <a:pt x="79" y="273"/>
                    </a:lnTo>
                    <a:lnTo>
                      <a:pt x="78" y="274"/>
                    </a:lnTo>
                    <a:lnTo>
                      <a:pt x="74" y="281"/>
                    </a:lnTo>
                    <a:lnTo>
                      <a:pt x="78" y="283"/>
                    </a:lnTo>
                    <a:lnTo>
                      <a:pt x="78" y="284"/>
                    </a:lnTo>
                    <a:lnTo>
                      <a:pt x="82" y="294"/>
                    </a:lnTo>
                    <a:lnTo>
                      <a:pt x="86" y="297"/>
                    </a:lnTo>
                    <a:lnTo>
                      <a:pt x="89" y="301"/>
                    </a:lnTo>
                    <a:lnTo>
                      <a:pt x="89" y="307"/>
                    </a:lnTo>
                    <a:lnTo>
                      <a:pt x="86" y="307"/>
                    </a:lnTo>
                    <a:lnTo>
                      <a:pt x="87" y="324"/>
                    </a:lnTo>
                    <a:lnTo>
                      <a:pt x="91" y="327"/>
                    </a:lnTo>
                    <a:lnTo>
                      <a:pt x="87" y="329"/>
                    </a:lnTo>
                    <a:lnTo>
                      <a:pt x="91" y="335"/>
                    </a:lnTo>
                    <a:lnTo>
                      <a:pt x="91" y="337"/>
                    </a:lnTo>
                    <a:lnTo>
                      <a:pt x="94" y="335"/>
                    </a:lnTo>
                    <a:lnTo>
                      <a:pt x="97" y="339"/>
                    </a:lnTo>
                    <a:lnTo>
                      <a:pt x="96" y="342"/>
                    </a:lnTo>
                    <a:lnTo>
                      <a:pt x="97" y="345"/>
                    </a:lnTo>
                    <a:lnTo>
                      <a:pt x="96" y="348"/>
                    </a:lnTo>
                    <a:lnTo>
                      <a:pt x="97" y="350"/>
                    </a:lnTo>
                    <a:lnTo>
                      <a:pt x="97" y="352"/>
                    </a:lnTo>
                    <a:lnTo>
                      <a:pt x="96" y="353"/>
                    </a:lnTo>
                    <a:lnTo>
                      <a:pt x="96" y="355"/>
                    </a:lnTo>
                    <a:lnTo>
                      <a:pt x="94" y="357"/>
                    </a:lnTo>
                    <a:lnTo>
                      <a:pt x="96" y="362"/>
                    </a:lnTo>
                    <a:lnTo>
                      <a:pt x="86" y="365"/>
                    </a:lnTo>
                    <a:lnTo>
                      <a:pt x="87" y="368"/>
                    </a:lnTo>
                    <a:lnTo>
                      <a:pt x="86" y="368"/>
                    </a:lnTo>
                    <a:lnTo>
                      <a:pt x="84" y="370"/>
                    </a:lnTo>
                    <a:lnTo>
                      <a:pt x="81" y="370"/>
                    </a:lnTo>
                    <a:lnTo>
                      <a:pt x="81" y="373"/>
                    </a:lnTo>
                    <a:lnTo>
                      <a:pt x="78" y="373"/>
                    </a:lnTo>
                    <a:lnTo>
                      <a:pt x="76" y="373"/>
                    </a:lnTo>
                    <a:lnTo>
                      <a:pt x="74" y="375"/>
                    </a:lnTo>
                    <a:lnTo>
                      <a:pt x="73" y="380"/>
                    </a:lnTo>
                    <a:lnTo>
                      <a:pt x="74" y="383"/>
                    </a:lnTo>
                    <a:lnTo>
                      <a:pt x="71" y="388"/>
                    </a:lnTo>
                    <a:lnTo>
                      <a:pt x="73" y="391"/>
                    </a:lnTo>
                    <a:lnTo>
                      <a:pt x="71" y="393"/>
                    </a:lnTo>
                    <a:lnTo>
                      <a:pt x="71" y="396"/>
                    </a:lnTo>
                    <a:lnTo>
                      <a:pt x="69" y="396"/>
                    </a:lnTo>
                    <a:lnTo>
                      <a:pt x="66" y="399"/>
                    </a:lnTo>
                    <a:lnTo>
                      <a:pt x="66" y="401"/>
                    </a:lnTo>
                    <a:lnTo>
                      <a:pt x="64" y="401"/>
                    </a:lnTo>
                    <a:lnTo>
                      <a:pt x="63" y="406"/>
                    </a:lnTo>
                    <a:lnTo>
                      <a:pt x="63" y="408"/>
                    </a:lnTo>
                    <a:lnTo>
                      <a:pt x="66" y="408"/>
                    </a:lnTo>
                    <a:lnTo>
                      <a:pt x="66" y="409"/>
                    </a:lnTo>
                    <a:lnTo>
                      <a:pt x="66" y="413"/>
                    </a:lnTo>
                    <a:lnTo>
                      <a:pt x="68" y="413"/>
                    </a:lnTo>
                    <a:lnTo>
                      <a:pt x="66" y="414"/>
                    </a:lnTo>
                    <a:lnTo>
                      <a:pt x="68" y="416"/>
                    </a:lnTo>
                    <a:lnTo>
                      <a:pt x="71" y="419"/>
                    </a:lnTo>
                    <a:lnTo>
                      <a:pt x="73" y="422"/>
                    </a:lnTo>
                    <a:lnTo>
                      <a:pt x="71" y="422"/>
                    </a:lnTo>
                    <a:lnTo>
                      <a:pt x="71" y="427"/>
                    </a:lnTo>
                    <a:lnTo>
                      <a:pt x="73" y="429"/>
                    </a:lnTo>
                    <a:lnTo>
                      <a:pt x="74" y="427"/>
                    </a:lnTo>
                    <a:lnTo>
                      <a:pt x="74" y="429"/>
                    </a:lnTo>
                    <a:lnTo>
                      <a:pt x="76" y="431"/>
                    </a:lnTo>
                    <a:lnTo>
                      <a:pt x="79" y="431"/>
                    </a:lnTo>
                    <a:lnTo>
                      <a:pt x="82" y="427"/>
                    </a:lnTo>
                    <a:lnTo>
                      <a:pt x="87" y="431"/>
                    </a:lnTo>
                    <a:lnTo>
                      <a:pt x="89" y="429"/>
                    </a:lnTo>
                    <a:lnTo>
                      <a:pt x="91" y="429"/>
                    </a:lnTo>
                    <a:lnTo>
                      <a:pt x="92" y="432"/>
                    </a:lnTo>
                    <a:lnTo>
                      <a:pt x="97" y="432"/>
                    </a:lnTo>
                    <a:lnTo>
                      <a:pt x="101" y="436"/>
                    </a:lnTo>
                    <a:lnTo>
                      <a:pt x="99" y="437"/>
                    </a:lnTo>
                    <a:lnTo>
                      <a:pt x="101" y="437"/>
                    </a:lnTo>
                    <a:lnTo>
                      <a:pt x="102" y="437"/>
                    </a:lnTo>
                    <a:lnTo>
                      <a:pt x="101" y="439"/>
                    </a:lnTo>
                    <a:lnTo>
                      <a:pt x="102" y="439"/>
                    </a:lnTo>
                    <a:lnTo>
                      <a:pt x="104" y="439"/>
                    </a:lnTo>
                    <a:lnTo>
                      <a:pt x="104" y="440"/>
                    </a:lnTo>
                    <a:lnTo>
                      <a:pt x="109" y="440"/>
                    </a:lnTo>
                    <a:lnTo>
                      <a:pt x="109" y="444"/>
                    </a:lnTo>
                    <a:lnTo>
                      <a:pt x="110" y="440"/>
                    </a:lnTo>
                    <a:lnTo>
                      <a:pt x="112" y="442"/>
                    </a:lnTo>
                    <a:lnTo>
                      <a:pt x="112" y="440"/>
                    </a:lnTo>
                    <a:lnTo>
                      <a:pt x="114" y="439"/>
                    </a:lnTo>
                    <a:lnTo>
                      <a:pt x="117" y="439"/>
                    </a:lnTo>
                    <a:lnTo>
                      <a:pt x="117" y="442"/>
                    </a:lnTo>
                    <a:lnTo>
                      <a:pt x="122" y="440"/>
                    </a:lnTo>
                    <a:lnTo>
                      <a:pt x="122" y="442"/>
                    </a:lnTo>
                    <a:lnTo>
                      <a:pt x="124" y="442"/>
                    </a:lnTo>
                    <a:lnTo>
                      <a:pt x="127" y="442"/>
                    </a:lnTo>
                    <a:lnTo>
                      <a:pt x="130" y="444"/>
                    </a:lnTo>
                    <a:lnTo>
                      <a:pt x="132" y="445"/>
                    </a:lnTo>
                    <a:lnTo>
                      <a:pt x="135" y="445"/>
                    </a:lnTo>
                    <a:lnTo>
                      <a:pt x="140" y="447"/>
                    </a:lnTo>
                    <a:lnTo>
                      <a:pt x="143" y="447"/>
                    </a:lnTo>
                    <a:lnTo>
                      <a:pt x="147" y="450"/>
                    </a:lnTo>
                    <a:lnTo>
                      <a:pt x="151" y="455"/>
                    </a:lnTo>
                    <a:lnTo>
                      <a:pt x="153" y="455"/>
                    </a:lnTo>
                    <a:lnTo>
                      <a:pt x="156" y="457"/>
                    </a:lnTo>
                    <a:lnTo>
                      <a:pt x="156" y="460"/>
                    </a:lnTo>
                    <a:lnTo>
                      <a:pt x="158" y="460"/>
                    </a:lnTo>
                    <a:lnTo>
                      <a:pt x="156" y="462"/>
                    </a:lnTo>
                    <a:lnTo>
                      <a:pt x="151" y="462"/>
                    </a:lnTo>
                    <a:lnTo>
                      <a:pt x="150" y="465"/>
                    </a:lnTo>
                    <a:lnTo>
                      <a:pt x="150" y="468"/>
                    </a:lnTo>
                    <a:lnTo>
                      <a:pt x="153" y="472"/>
                    </a:lnTo>
                    <a:lnTo>
                      <a:pt x="156" y="473"/>
                    </a:lnTo>
                    <a:lnTo>
                      <a:pt x="156" y="478"/>
                    </a:lnTo>
                    <a:lnTo>
                      <a:pt x="151" y="480"/>
                    </a:lnTo>
                    <a:lnTo>
                      <a:pt x="153" y="482"/>
                    </a:lnTo>
                    <a:lnTo>
                      <a:pt x="150" y="483"/>
                    </a:lnTo>
                    <a:lnTo>
                      <a:pt x="148" y="483"/>
                    </a:lnTo>
                    <a:lnTo>
                      <a:pt x="148" y="487"/>
                    </a:lnTo>
                    <a:lnTo>
                      <a:pt x="150" y="487"/>
                    </a:lnTo>
                    <a:lnTo>
                      <a:pt x="148" y="488"/>
                    </a:lnTo>
                    <a:lnTo>
                      <a:pt x="147" y="487"/>
                    </a:lnTo>
                    <a:lnTo>
                      <a:pt x="145" y="488"/>
                    </a:lnTo>
                    <a:lnTo>
                      <a:pt x="143" y="490"/>
                    </a:lnTo>
                    <a:lnTo>
                      <a:pt x="140" y="487"/>
                    </a:lnTo>
                    <a:lnTo>
                      <a:pt x="140" y="485"/>
                    </a:lnTo>
                    <a:lnTo>
                      <a:pt x="135" y="490"/>
                    </a:lnTo>
                    <a:lnTo>
                      <a:pt x="133" y="490"/>
                    </a:lnTo>
                    <a:lnTo>
                      <a:pt x="130" y="487"/>
                    </a:lnTo>
                    <a:lnTo>
                      <a:pt x="128" y="488"/>
                    </a:lnTo>
                    <a:lnTo>
                      <a:pt x="128" y="493"/>
                    </a:lnTo>
                    <a:lnTo>
                      <a:pt x="124" y="496"/>
                    </a:lnTo>
                    <a:lnTo>
                      <a:pt x="122" y="501"/>
                    </a:lnTo>
                    <a:lnTo>
                      <a:pt x="119" y="505"/>
                    </a:lnTo>
                    <a:lnTo>
                      <a:pt x="120" y="510"/>
                    </a:lnTo>
                    <a:lnTo>
                      <a:pt x="119" y="511"/>
                    </a:lnTo>
                    <a:lnTo>
                      <a:pt x="119" y="516"/>
                    </a:lnTo>
                    <a:lnTo>
                      <a:pt x="117" y="518"/>
                    </a:lnTo>
                    <a:lnTo>
                      <a:pt x="119" y="519"/>
                    </a:lnTo>
                    <a:lnTo>
                      <a:pt x="125" y="519"/>
                    </a:lnTo>
                    <a:lnTo>
                      <a:pt x="127" y="521"/>
                    </a:lnTo>
                    <a:lnTo>
                      <a:pt x="133" y="523"/>
                    </a:lnTo>
                    <a:lnTo>
                      <a:pt x="132" y="528"/>
                    </a:lnTo>
                    <a:lnTo>
                      <a:pt x="133" y="531"/>
                    </a:lnTo>
                    <a:lnTo>
                      <a:pt x="133" y="536"/>
                    </a:lnTo>
                    <a:lnTo>
                      <a:pt x="140" y="536"/>
                    </a:lnTo>
                    <a:lnTo>
                      <a:pt x="140" y="534"/>
                    </a:lnTo>
                    <a:lnTo>
                      <a:pt x="143" y="537"/>
                    </a:lnTo>
                    <a:lnTo>
                      <a:pt x="148" y="536"/>
                    </a:lnTo>
                    <a:lnTo>
                      <a:pt x="151" y="537"/>
                    </a:lnTo>
                    <a:lnTo>
                      <a:pt x="153" y="536"/>
                    </a:lnTo>
                    <a:lnTo>
                      <a:pt x="158" y="539"/>
                    </a:lnTo>
                    <a:lnTo>
                      <a:pt x="156" y="544"/>
                    </a:lnTo>
                    <a:lnTo>
                      <a:pt x="161" y="549"/>
                    </a:lnTo>
                    <a:lnTo>
                      <a:pt x="163" y="549"/>
                    </a:lnTo>
                    <a:lnTo>
                      <a:pt x="163" y="547"/>
                    </a:lnTo>
                    <a:lnTo>
                      <a:pt x="163" y="549"/>
                    </a:lnTo>
                    <a:lnTo>
                      <a:pt x="163" y="551"/>
                    </a:lnTo>
                    <a:lnTo>
                      <a:pt x="170" y="556"/>
                    </a:lnTo>
                    <a:lnTo>
                      <a:pt x="171" y="562"/>
                    </a:lnTo>
                    <a:lnTo>
                      <a:pt x="173" y="562"/>
                    </a:lnTo>
                    <a:lnTo>
                      <a:pt x="173" y="567"/>
                    </a:lnTo>
                    <a:lnTo>
                      <a:pt x="171" y="569"/>
                    </a:lnTo>
                    <a:lnTo>
                      <a:pt x="166" y="572"/>
                    </a:lnTo>
                    <a:lnTo>
                      <a:pt x="163" y="574"/>
                    </a:lnTo>
                    <a:lnTo>
                      <a:pt x="165" y="575"/>
                    </a:lnTo>
                    <a:lnTo>
                      <a:pt x="165" y="580"/>
                    </a:lnTo>
                    <a:lnTo>
                      <a:pt x="170" y="585"/>
                    </a:lnTo>
                    <a:lnTo>
                      <a:pt x="166" y="597"/>
                    </a:lnTo>
                    <a:lnTo>
                      <a:pt x="171" y="598"/>
                    </a:lnTo>
                    <a:lnTo>
                      <a:pt x="174" y="600"/>
                    </a:lnTo>
                    <a:lnTo>
                      <a:pt x="176" y="602"/>
                    </a:lnTo>
                    <a:lnTo>
                      <a:pt x="179" y="605"/>
                    </a:lnTo>
                    <a:lnTo>
                      <a:pt x="179" y="608"/>
                    </a:lnTo>
                    <a:lnTo>
                      <a:pt x="179" y="611"/>
                    </a:lnTo>
                    <a:lnTo>
                      <a:pt x="188" y="615"/>
                    </a:lnTo>
                    <a:lnTo>
                      <a:pt x="194" y="618"/>
                    </a:lnTo>
                    <a:lnTo>
                      <a:pt x="202" y="621"/>
                    </a:lnTo>
                    <a:lnTo>
                      <a:pt x="206" y="623"/>
                    </a:lnTo>
                    <a:lnTo>
                      <a:pt x="214" y="628"/>
                    </a:lnTo>
                    <a:lnTo>
                      <a:pt x="214" y="630"/>
                    </a:lnTo>
                    <a:lnTo>
                      <a:pt x="217" y="630"/>
                    </a:lnTo>
                    <a:lnTo>
                      <a:pt x="217" y="631"/>
                    </a:lnTo>
                    <a:lnTo>
                      <a:pt x="225" y="636"/>
                    </a:lnTo>
                    <a:lnTo>
                      <a:pt x="230" y="639"/>
                    </a:lnTo>
                    <a:lnTo>
                      <a:pt x="240" y="646"/>
                    </a:lnTo>
                    <a:lnTo>
                      <a:pt x="242" y="646"/>
                    </a:lnTo>
                    <a:lnTo>
                      <a:pt x="250" y="651"/>
                    </a:lnTo>
                    <a:lnTo>
                      <a:pt x="257" y="656"/>
                    </a:lnTo>
                    <a:lnTo>
                      <a:pt x="266" y="669"/>
                    </a:lnTo>
                    <a:lnTo>
                      <a:pt x="273" y="679"/>
                    </a:lnTo>
                    <a:lnTo>
                      <a:pt x="280" y="689"/>
                    </a:lnTo>
                    <a:lnTo>
                      <a:pt x="281" y="689"/>
                    </a:lnTo>
                    <a:lnTo>
                      <a:pt x="293" y="712"/>
                    </a:lnTo>
                    <a:lnTo>
                      <a:pt x="303" y="730"/>
                    </a:lnTo>
                    <a:lnTo>
                      <a:pt x="303" y="731"/>
                    </a:lnTo>
                    <a:lnTo>
                      <a:pt x="301" y="735"/>
                    </a:lnTo>
                    <a:lnTo>
                      <a:pt x="299" y="735"/>
                    </a:lnTo>
                    <a:lnTo>
                      <a:pt x="296" y="738"/>
                    </a:lnTo>
                    <a:lnTo>
                      <a:pt x="294" y="736"/>
                    </a:lnTo>
                    <a:lnTo>
                      <a:pt x="289" y="738"/>
                    </a:lnTo>
                    <a:lnTo>
                      <a:pt x="286" y="738"/>
                    </a:lnTo>
                    <a:lnTo>
                      <a:pt x="285" y="738"/>
                    </a:lnTo>
                    <a:lnTo>
                      <a:pt x="280" y="741"/>
                    </a:lnTo>
                    <a:lnTo>
                      <a:pt x="276" y="743"/>
                    </a:lnTo>
                    <a:lnTo>
                      <a:pt x="273" y="745"/>
                    </a:lnTo>
                    <a:lnTo>
                      <a:pt x="270" y="751"/>
                    </a:lnTo>
                    <a:lnTo>
                      <a:pt x="276" y="755"/>
                    </a:lnTo>
                    <a:lnTo>
                      <a:pt x="289" y="758"/>
                    </a:lnTo>
                    <a:lnTo>
                      <a:pt x="281" y="773"/>
                    </a:lnTo>
                    <a:lnTo>
                      <a:pt x="285" y="774"/>
                    </a:lnTo>
                    <a:lnTo>
                      <a:pt x="288" y="786"/>
                    </a:lnTo>
                    <a:lnTo>
                      <a:pt x="286" y="789"/>
                    </a:lnTo>
                    <a:lnTo>
                      <a:pt x="281" y="794"/>
                    </a:lnTo>
                    <a:lnTo>
                      <a:pt x="280" y="796"/>
                    </a:lnTo>
                    <a:lnTo>
                      <a:pt x="275" y="796"/>
                    </a:lnTo>
                    <a:lnTo>
                      <a:pt x="273" y="797"/>
                    </a:lnTo>
                    <a:lnTo>
                      <a:pt x="270" y="801"/>
                    </a:lnTo>
                    <a:lnTo>
                      <a:pt x="270" y="804"/>
                    </a:lnTo>
                    <a:lnTo>
                      <a:pt x="265" y="802"/>
                    </a:lnTo>
                    <a:lnTo>
                      <a:pt x="263" y="802"/>
                    </a:lnTo>
                    <a:lnTo>
                      <a:pt x="266" y="807"/>
                    </a:lnTo>
                    <a:lnTo>
                      <a:pt x="268" y="809"/>
                    </a:lnTo>
                    <a:lnTo>
                      <a:pt x="266" y="810"/>
                    </a:lnTo>
                    <a:lnTo>
                      <a:pt x="271" y="815"/>
                    </a:lnTo>
                    <a:lnTo>
                      <a:pt x="273" y="817"/>
                    </a:lnTo>
                    <a:lnTo>
                      <a:pt x="275" y="825"/>
                    </a:lnTo>
                    <a:lnTo>
                      <a:pt x="265" y="827"/>
                    </a:lnTo>
                    <a:lnTo>
                      <a:pt x="265" y="829"/>
                    </a:lnTo>
                    <a:lnTo>
                      <a:pt x="253" y="830"/>
                    </a:lnTo>
                    <a:lnTo>
                      <a:pt x="252" y="835"/>
                    </a:lnTo>
                    <a:lnTo>
                      <a:pt x="250" y="835"/>
                    </a:lnTo>
                    <a:lnTo>
                      <a:pt x="247" y="838"/>
                    </a:lnTo>
                    <a:lnTo>
                      <a:pt x="247" y="842"/>
                    </a:lnTo>
                    <a:lnTo>
                      <a:pt x="250" y="847"/>
                    </a:lnTo>
                    <a:lnTo>
                      <a:pt x="260" y="863"/>
                    </a:lnTo>
                    <a:lnTo>
                      <a:pt x="263" y="866"/>
                    </a:lnTo>
                    <a:lnTo>
                      <a:pt x="265" y="868"/>
                    </a:lnTo>
                    <a:lnTo>
                      <a:pt x="276" y="881"/>
                    </a:lnTo>
                    <a:lnTo>
                      <a:pt x="276" y="884"/>
                    </a:lnTo>
                    <a:lnTo>
                      <a:pt x="268" y="883"/>
                    </a:lnTo>
                    <a:lnTo>
                      <a:pt x="265" y="884"/>
                    </a:lnTo>
                    <a:lnTo>
                      <a:pt x="263" y="884"/>
                    </a:lnTo>
                    <a:lnTo>
                      <a:pt x="252" y="888"/>
                    </a:lnTo>
                    <a:lnTo>
                      <a:pt x="252" y="891"/>
                    </a:lnTo>
                    <a:lnTo>
                      <a:pt x="252" y="893"/>
                    </a:lnTo>
                    <a:lnTo>
                      <a:pt x="258" y="893"/>
                    </a:lnTo>
                    <a:lnTo>
                      <a:pt x="258" y="896"/>
                    </a:lnTo>
                    <a:lnTo>
                      <a:pt x="255" y="898"/>
                    </a:lnTo>
                    <a:lnTo>
                      <a:pt x="258" y="899"/>
                    </a:lnTo>
                    <a:lnTo>
                      <a:pt x="258" y="901"/>
                    </a:lnTo>
                    <a:lnTo>
                      <a:pt x="257" y="901"/>
                    </a:lnTo>
                    <a:lnTo>
                      <a:pt x="253" y="909"/>
                    </a:lnTo>
                    <a:lnTo>
                      <a:pt x="260" y="916"/>
                    </a:lnTo>
                    <a:lnTo>
                      <a:pt x="262" y="921"/>
                    </a:lnTo>
                    <a:lnTo>
                      <a:pt x="260" y="922"/>
                    </a:lnTo>
                    <a:lnTo>
                      <a:pt x="263" y="924"/>
                    </a:lnTo>
                    <a:lnTo>
                      <a:pt x="263" y="926"/>
                    </a:lnTo>
                    <a:lnTo>
                      <a:pt x="263" y="927"/>
                    </a:lnTo>
                    <a:lnTo>
                      <a:pt x="266" y="930"/>
                    </a:lnTo>
                    <a:lnTo>
                      <a:pt x="266" y="932"/>
                    </a:lnTo>
                    <a:lnTo>
                      <a:pt x="263" y="932"/>
                    </a:lnTo>
                    <a:lnTo>
                      <a:pt x="266" y="934"/>
                    </a:lnTo>
                    <a:lnTo>
                      <a:pt x="265" y="935"/>
                    </a:lnTo>
                    <a:lnTo>
                      <a:pt x="263" y="939"/>
                    </a:lnTo>
                    <a:lnTo>
                      <a:pt x="265" y="944"/>
                    </a:lnTo>
                    <a:lnTo>
                      <a:pt x="262" y="944"/>
                    </a:lnTo>
                    <a:lnTo>
                      <a:pt x="265" y="949"/>
                    </a:lnTo>
                    <a:lnTo>
                      <a:pt x="265" y="950"/>
                    </a:lnTo>
                    <a:lnTo>
                      <a:pt x="265" y="949"/>
                    </a:lnTo>
                    <a:lnTo>
                      <a:pt x="271" y="949"/>
                    </a:lnTo>
                    <a:lnTo>
                      <a:pt x="273" y="949"/>
                    </a:lnTo>
                    <a:lnTo>
                      <a:pt x="278" y="947"/>
                    </a:lnTo>
                    <a:lnTo>
                      <a:pt x="285" y="949"/>
                    </a:lnTo>
                    <a:lnTo>
                      <a:pt x="293" y="952"/>
                    </a:lnTo>
                    <a:lnTo>
                      <a:pt x="294" y="952"/>
                    </a:lnTo>
                    <a:lnTo>
                      <a:pt x="296" y="950"/>
                    </a:lnTo>
                    <a:lnTo>
                      <a:pt x="301" y="949"/>
                    </a:lnTo>
                    <a:lnTo>
                      <a:pt x="306" y="942"/>
                    </a:lnTo>
                    <a:lnTo>
                      <a:pt x="311" y="942"/>
                    </a:lnTo>
                    <a:lnTo>
                      <a:pt x="312" y="940"/>
                    </a:lnTo>
                    <a:lnTo>
                      <a:pt x="316" y="940"/>
                    </a:lnTo>
                    <a:lnTo>
                      <a:pt x="317" y="935"/>
                    </a:lnTo>
                    <a:lnTo>
                      <a:pt x="322" y="930"/>
                    </a:lnTo>
                    <a:lnTo>
                      <a:pt x="316" y="927"/>
                    </a:lnTo>
                    <a:lnTo>
                      <a:pt x="317" y="922"/>
                    </a:lnTo>
                    <a:lnTo>
                      <a:pt x="317" y="921"/>
                    </a:lnTo>
                    <a:lnTo>
                      <a:pt x="317" y="919"/>
                    </a:lnTo>
                    <a:lnTo>
                      <a:pt x="321" y="912"/>
                    </a:lnTo>
                    <a:lnTo>
                      <a:pt x="334" y="909"/>
                    </a:lnTo>
                    <a:lnTo>
                      <a:pt x="335" y="906"/>
                    </a:lnTo>
                    <a:lnTo>
                      <a:pt x="340" y="904"/>
                    </a:lnTo>
                    <a:lnTo>
                      <a:pt x="342" y="902"/>
                    </a:lnTo>
                    <a:lnTo>
                      <a:pt x="345" y="904"/>
                    </a:lnTo>
                    <a:lnTo>
                      <a:pt x="349" y="901"/>
                    </a:lnTo>
                    <a:lnTo>
                      <a:pt x="352" y="902"/>
                    </a:lnTo>
                    <a:lnTo>
                      <a:pt x="354" y="902"/>
                    </a:lnTo>
                    <a:lnTo>
                      <a:pt x="354" y="899"/>
                    </a:lnTo>
                    <a:lnTo>
                      <a:pt x="349" y="896"/>
                    </a:lnTo>
                    <a:lnTo>
                      <a:pt x="354" y="896"/>
                    </a:lnTo>
                    <a:lnTo>
                      <a:pt x="360" y="898"/>
                    </a:lnTo>
                    <a:lnTo>
                      <a:pt x="365" y="896"/>
                    </a:lnTo>
                    <a:lnTo>
                      <a:pt x="367" y="898"/>
                    </a:lnTo>
                    <a:lnTo>
                      <a:pt x="373" y="898"/>
                    </a:lnTo>
                    <a:lnTo>
                      <a:pt x="375" y="898"/>
                    </a:lnTo>
                    <a:lnTo>
                      <a:pt x="377" y="894"/>
                    </a:lnTo>
                    <a:lnTo>
                      <a:pt x="380" y="893"/>
                    </a:lnTo>
                    <a:lnTo>
                      <a:pt x="385" y="896"/>
                    </a:lnTo>
                    <a:lnTo>
                      <a:pt x="383" y="899"/>
                    </a:lnTo>
                    <a:lnTo>
                      <a:pt x="385" y="899"/>
                    </a:lnTo>
                    <a:lnTo>
                      <a:pt x="385" y="902"/>
                    </a:lnTo>
                    <a:lnTo>
                      <a:pt x="386" y="902"/>
                    </a:lnTo>
                    <a:lnTo>
                      <a:pt x="385" y="904"/>
                    </a:lnTo>
                    <a:lnTo>
                      <a:pt x="388" y="914"/>
                    </a:lnTo>
                    <a:lnTo>
                      <a:pt x="393" y="922"/>
                    </a:lnTo>
                    <a:lnTo>
                      <a:pt x="396" y="927"/>
                    </a:lnTo>
                    <a:lnTo>
                      <a:pt x="401" y="922"/>
                    </a:lnTo>
                    <a:lnTo>
                      <a:pt x="403" y="921"/>
                    </a:lnTo>
                    <a:lnTo>
                      <a:pt x="404" y="922"/>
                    </a:lnTo>
                    <a:lnTo>
                      <a:pt x="406" y="922"/>
                    </a:lnTo>
                    <a:lnTo>
                      <a:pt x="409" y="916"/>
                    </a:lnTo>
                    <a:lnTo>
                      <a:pt x="409" y="914"/>
                    </a:lnTo>
                    <a:lnTo>
                      <a:pt x="411" y="912"/>
                    </a:lnTo>
                    <a:lnTo>
                      <a:pt x="413" y="912"/>
                    </a:lnTo>
                    <a:lnTo>
                      <a:pt x="416" y="909"/>
                    </a:lnTo>
                    <a:lnTo>
                      <a:pt x="414" y="907"/>
                    </a:lnTo>
                    <a:lnTo>
                      <a:pt x="413" y="907"/>
                    </a:lnTo>
                    <a:lnTo>
                      <a:pt x="413" y="902"/>
                    </a:lnTo>
                    <a:lnTo>
                      <a:pt x="414" y="902"/>
                    </a:lnTo>
                    <a:lnTo>
                      <a:pt x="419" y="902"/>
                    </a:lnTo>
                    <a:lnTo>
                      <a:pt x="423" y="898"/>
                    </a:lnTo>
                    <a:lnTo>
                      <a:pt x="418" y="886"/>
                    </a:lnTo>
                    <a:lnTo>
                      <a:pt x="414" y="886"/>
                    </a:lnTo>
                    <a:lnTo>
                      <a:pt x="413" y="883"/>
                    </a:lnTo>
                    <a:lnTo>
                      <a:pt x="409" y="881"/>
                    </a:lnTo>
                    <a:lnTo>
                      <a:pt x="411" y="879"/>
                    </a:lnTo>
                    <a:lnTo>
                      <a:pt x="408" y="875"/>
                    </a:lnTo>
                    <a:lnTo>
                      <a:pt x="403" y="873"/>
                    </a:lnTo>
                    <a:lnTo>
                      <a:pt x="406" y="870"/>
                    </a:lnTo>
                    <a:lnTo>
                      <a:pt x="406" y="866"/>
                    </a:lnTo>
                    <a:lnTo>
                      <a:pt x="409" y="865"/>
                    </a:lnTo>
                    <a:lnTo>
                      <a:pt x="423" y="863"/>
                    </a:lnTo>
                    <a:lnTo>
                      <a:pt x="424" y="863"/>
                    </a:lnTo>
                    <a:lnTo>
                      <a:pt x="423" y="856"/>
                    </a:lnTo>
                    <a:lnTo>
                      <a:pt x="429" y="856"/>
                    </a:lnTo>
                    <a:lnTo>
                      <a:pt x="431" y="853"/>
                    </a:lnTo>
                    <a:lnTo>
                      <a:pt x="431" y="848"/>
                    </a:lnTo>
                    <a:lnTo>
                      <a:pt x="432" y="848"/>
                    </a:lnTo>
                    <a:lnTo>
                      <a:pt x="436" y="852"/>
                    </a:lnTo>
                    <a:lnTo>
                      <a:pt x="441" y="845"/>
                    </a:lnTo>
                    <a:lnTo>
                      <a:pt x="439" y="843"/>
                    </a:lnTo>
                    <a:lnTo>
                      <a:pt x="444" y="842"/>
                    </a:lnTo>
                    <a:lnTo>
                      <a:pt x="446" y="840"/>
                    </a:lnTo>
                    <a:lnTo>
                      <a:pt x="447" y="845"/>
                    </a:lnTo>
                    <a:lnTo>
                      <a:pt x="449" y="843"/>
                    </a:lnTo>
                    <a:lnTo>
                      <a:pt x="450" y="843"/>
                    </a:lnTo>
                    <a:lnTo>
                      <a:pt x="455" y="840"/>
                    </a:lnTo>
                    <a:lnTo>
                      <a:pt x="464" y="832"/>
                    </a:lnTo>
                    <a:lnTo>
                      <a:pt x="467" y="829"/>
                    </a:lnTo>
                    <a:lnTo>
                      <a:pt x="473" y="827"/>
                    </a:lnTo>
                    <a:lnTo>
                      <a:pt x="480" y="827"/>
                    </a:lnTo>
                    <a:lnTo>
                      <a:pt x="482" y="820"/>
                    </a:lnTo>
                    <a:lnTo>
                      <a:pt x="490" y="809"/>
                    </a:lnTo>
                    <a:lnTo>
                      <a:pt x="488" y="805"/>
                    </a:lnTo>
                    <a:lnTo>
                      <a:pt x="487" y="792"/>
                    </a:lnTo>
                    <a:lnTo>
                      <a:pt x="485" y="786"/>
                    </a:lnTo>
                    <a:lnTo>
                      <a:pt x="490" y="782"/>
                    </a:lnTo>
                    <a:lnTo>
                      <a:pt x="493" y="784"/>
                    </a:lnTo>
                    <a:lnTo>
                      <a:pt x="496" y="781"/>
                    </a:lnTo>
                    <a:lnTo>
                      <a:pt x="500" y="779"/>
                    </a:lnTo>
                    <a:lnTo>
                      <a:pt x="501" y="779"/>
                    </a:lnTo>
                    <a:lnTo>
                      <a:pt x="503" y="779"/>
                    </a:lnTo>
                    <a:lnTo>
                      <a:pt x="506" y="781"/>
                    </a:lnTo>
                    <a:lnTo>
                      <a:pt x="508" y="782"/>
                    </a:lnTo>
                    <a:lnTo>
                      <a:pt x="508" y="784"/>
                    </a:lnTo>
                    <a:lnTo>
                      <a:pt x="516" y="794"/>
                    </a:lnTo>
                    <a:lnTo>
                      <a:pt x="519" y="791"/>
                    </a:lnTo>
                    <a:lnTo>
                      <a:pt x="524" y="792"/>
                    </a:lnTo>
                    <a:lnTo>
                      <a:pt x="524" y="786"/>
                    </a:lnTo>
                    <a:lnTo>
                      <a:pt x="528" y="784"/>
                    </a:lnTo>
                    <a:lnTo>
                      <a:pt x="524" y="773"/>
                    </a:lnTo>
                    <a:lnTo>
                      <a:pt x="533" y="759"/>
                    </a:lnTo>
                    <a:lnTo>
                      <a:pt x="534" y="758"/>
                    </a:lnTo>
                    <a:lnTo>
                      <a:pt x="533" y="758"/>
                    </a:lnTo>
                    <a:lnTo>
                      <a:pt x="544" y="755"/>
                    </a:lnTo>
                    <a:lnTo>
                      <a:pt x="547" y="756"/>
                    </a:lnTo>
                    <a:lnTo>
                      <a:pt x="551" y="753"/>
                    </a:lnTo>
                    <a:lnTo>
                      <a:pt x="551" y="745"/>
                    </a:lnTo>
                    <a:lnTo>
                      <a:pt x="544" y="743"/>
                    </a:lnTo>
                    <a:lnTo>
                      <a:pt x="547" y="738"/>
                    </a:lnTo>
                    <a:lnTo>
                      <a:pt x="539" y="731"/>
                    </a:lnTo>
                    <a:lnTo>
                      <a:pt x="539" y="730"/>
                    </a:lnTo>
                    <a:lnTo>
                      <a:pt x="539" y="728"/>
                    </a:lnTo>
                    <a:lnTo>
                      <a:pt x="542" y="725"/>
                    </a:lnTo>
                    <a:lnTo>
                      <a:pt x="541" y="722"/>
                    </a:lnTo>
                    <a:lnTo>
                      <a:pt x="538" y="718"/>
                    </a:lnTo>
                    <a:lnTo>
                      <a:pt x="541" y="717"/>
                    </a:lnTo>
                    <a:lnTo>
                      <a:pt x="541" y="713"/>
                    </a:lnTo>
                    <a:lnTo>
                      <a:pt x="539" y="712"/>
                    </a:lnTo>
                    <a:lnTo>
                      <a:pt x="536" y="712"/>
                    </a:lnTo>
                    <a:lnTo>
                      <a:pt x="531" y="710"/>
                    </a:lnTo>
                    <a:lnTo>
                      <a:pt x="533" y="705"/>
                    </a:lnTo>
                    <a:lnTo>
                      <a:pt x="528" y="704"/>
                    </a:lnTo>
                    <a:lnTo>
                      <a:pt x="531" y="700"/>
                    </a:lnTo>
                    <a:lnTo>
                      <a:pt x="539" y="697"/>
                    </a:lnTo>
                    <a:lnTo>
                      <a:pt x="539" y="694"/>
                    </a:lnTo>
                    <a:lnTo>
                      <a:pt x="533" y="692"/>
                    </a:lnTo>
                    <a:lnTo>
                      <a:pt x="533" y="689"/>
                    </a:lnTo>
                    <a:lnTo>
                      <a:pt x="534" y="687"/>
                    </a:lnTo>
                    <a:lnTo>
                      <a:pt x="538" y="689"/>
                    </a:lnTo>
                    <a:lnTo>
                      <a:pt x="541" y="685"/>
                    </a:lnTo>
                    <a:lnTo>
                      <a:pt x="547" y="677"/>
                    </a:lnTo>
                    <a:lnTo>
                      <a:pt x="549" y="672"/>
                    </a:lnTo>
                    <a:lnTo>
                      <a:pt x="546" y="667"/>
                    </a:lnTo>
                    <a:lnTo>
                      <a:pt x="539" y="669"/>
                    </a:lnTo>
                    <a:lnTo>
                      <a:pt x="536" y="666"/>
                    </a:lnTo>
                    <a:lnTo>
                      <a:pt x="534" y="667"/>
                    </a:lnTo>
                    <a:lnTo>
                      <a:pt x="533" y="667"/>
                    </a:lnTo>
                    <a:lnTo>
                      <a:pt x="534" y="662"/>
                    </a:lnTo>
                    <a:lnTo>
                      <a:pt x="531" y="664"/>
                    </a:lnTo>
                    <a:lnTo>
                      <a:pt x="529" y="662"/>
                    </a:lnTo>
                    <a:lnTo>
                      <a:pt x="531" y="664"/>
                    </a:lnTo>
                    <a:lnTo>
                      <a:pt x="533" y="662"/>
                    </a:lnTo>
                    <a:lnTo>
                      <a:pt x="534" y="659"/>
                    </a:lnTo>
                    <a:lnTo>
                      <a:pt x="539" y="658"/>
                    </a:lnTo>
                    <a:lnTo>
                      <a:pt x="539" y="654"/>
                    </a:lnTo>
                    <a:lnTo>
                      <a:pt x="534" y="653"/>
                    </a:lnTo>
                    <a:lnTo>
                      <a:pt x="531" y="654"/>
                    </a:lnTo>
                    <a:lnTo>
                      <a:pt x="526" y="648"/>
                    </a:lnTo>
                    <a:lnTo>
                      <a:pt x="523" y="644"/>
                    </a:lnTo>
                    <a:lnTo>
                      <a:pt x="516" y="646"/>
                    </a:lnTo>
                    <a:lnTo>
                      <a:pt x="511" y="651"/>
                    </a:lnTo>
                    <a:lnTo>
                      <a:pt x="505" y="653"/>
                    </a:lnTo>
                    <a:lnTo>
                      <a:pt x="500" y="646"/>
                    </a:lnTo>
                    <a:lnTo>
                      <a:pt x="505" y="644"/>
                    </a:lnTo>
                    <a:lnTo>
                      <a:pt x="501" y="643"/>
                    </a:lnTo>
                    <a:lnTo>
                      <a:pt x="493" y="644"/>
                    </a:lnTo>
                    <a:lnTo>
                      <a:pt x="492" y="643"/>
                    </a:lnTo>
                    <a:lnTo>
                      <a:pt x="487" y="644"/>
                    </a:lnTo>
                    <a:lnTo>
                      <a:pt x="482" y="648"/>
                    </a:lnTo>
                    <a:lnTo>
                      <a:pt x="478" y="648"/>
                    </a:lnTo>
                    <a:lnTo>
                      <a:pt x="478" y="644"/>
                    </a:lnTo>
                    <a:lnTo>
                      <a:pt x="482" y="641"/>
                    </a:lnTo>
                    <a:lnTo>
                      <a:pt x="487" y="641"/>
                    </a:lnTo>
                    <a:lnTo>
                      <a:pt x="492" y="638"/>
                    </a:lnTo>
                    <a:lnTo>
                      <a:pt x="490" y="634"/>
                    </a:lnTo>
                    <a:lnTo>
                      <a:pt x="490" y="633"/>
                    </a:lnTo>
                    <a:lnTo>
                      <a:pt x="482" y="626"/>
                    </a:lnTo>
                    <a:lnTo>
                      <a:pt x="480" y="626"/>
                    </a:lnTo>
                    <a:lnTo>
                      <a:pt x="480" y="621"/>
                    </a:lnTo>
                    <a:lnTo>
                      <a:pt x="477" y="618"/>
                    </a:lnTo>
                    <a:lnTo>
                      <a:pt x="478" y="615"/>
                    </a:lnTo>
                    <a:lnTo>
                      <a:pt x="482" y="611"/>
                    </a:lnTo>
                    <a:lnTo>
                      <a:pt x="488" y="610"/>
                    </a:lnTo>
                    <a:lnTo>
                      <a:pt x="490" y="610"/>
                    </a:lnTo>
                    <a:lnTo>
                      <a:pt x="495" y="607"/>
                    </a:lnTo>
                    <a:lnTo>
                      <a:pt x="503" y="600"/>
                    </a:lnTo>
                    <a:lnTo>
                      <a:pt x="508" y="602"/>
                    </a:lnTo>
                    <a:lnTo>
                      <a:pt x="510" y="597"/>
                    </a:lnTo>
                    <a:lnTo>
                      <a:pt x="511" y="602"/>
                    </a:lnTo>
                    <a:lnTo>
                      <a:pt x="513" y="602"/>
                    </a:lnTo>
                    <a:lnTo>
                      <a:pt x="518" y="602"/>
                    </a:lnTo>
                    <a:lnTo>
                      <a:pt x="518" y="597"/>
                    </a:lnTo>
                    <a:lnTo>
                      <a:pt x="523" y="598"/>
                    </a:lnTo>
                    <a:lnTo>
                      <a:pt x="524" y="597"/>
                    </a:lnTo>
                    <a:lnTo>
                      <a:pt x="521" y="593"/>
                    </a:lnTo>
                    <a:lnTo>
                      <a:pt x="523" y="590"/>
                    </a:lnTo>
                    <a:lnTo>
                      <a:pt x="521" y="587"/>
                    </a:lnTo>
                    <a:lnTo>
                      <a:pt x="524" y="584"/>
                    </a:lnTo>
                    <a:lnTo>
                      <a:pt x="524" y="580"/>
                    </a:lnTo>
                    <a:lnTo>
                      <a:pt x="528" y="575"/>
                    </a:lnTo>
                    <a:lnTo>
                      <a:pt x="531" y="574"/>
                    </a:lnTo>
                    <a:lnTo>
                      <a:pt x="531" y="570"/>
                    </a:lnTo>
                    <a:lnTo>
                      <a:pt x="534" y="569"/>
                    </a:lnTo>
                    <a:lnTo>
                      <a:pt x="541" y="570"/>
                    </a:lnTo>
                    <a:lnTo>
                      <a:pt x="544" y="567"/>
                    </a:lnTo>
                    <a:lnTo>
                      <a:pt x="547" y="567"/>
                    </a:lnTo>
                    <a:lnTo>
                      <a:pt x="547" y="565"/>
                    </a:lnTo>
                    <a:lnTo>
                      <a:pt x="552" y="565"/>
                    </a:lnTo>
                    <a:lnTo>
                      <a:pt x="556" y="565"/>
                    </a:lnTo>
                    <a:lnTo>
                      <a:pt x="556" y="562"/>
                    </a:lnTo>
                    <a:lnTo>
                      <a:pt x="565" y="565"/>
                    </a:lnTo>
                    <a:lnTo>
                      <a:pt x="572" y="565"/>
                    </a:lnTo>
                    <a:lnTo>
                      <a:pt x="575" y="564"/>
                    </a:lnTo>
                    <a:lnTo>
                      <a:pt x="587" y="559"/>
                    </a:lnTo>
                    <a:lnTo>
                      <a:pt x="588" y="559"/>
                    </a:lnTo>
                    <a:lnTo>
                      <a:pt x="595" y="556"/>
                    </a:lnTo>
                    <a:lnTo>
                      <a:pt x="597" y="551"/>
                    </a:lnTo>
                    <a:lnTo>
                      <a:pt x="600" y="551"/>
                    </a:lnTo>
                    <a:lnTo>
                      <a:pt x="603" y="551"/>
                    </a:lnTo>
                    <a:lnTo>
                      <a:pt x="605" y="551"/>
                    </a:lnTo>
                    <a:lnTo>
                      <a:pt x="611" y="554"/>
                    </a:lnTo>
                    <a:lnTo>
                      <a:pt x="613" y="554"/>
                    </a:lnTo>
                    <a:lnTo>
                      <a:pt x="623" y="564"/>
                    </a:lnTo>
                    <a:lnTo>
                      <a:pt x="636" y="556"/>
                    </a:lnTo>
                    <a:lnTo>
                      <a:pt x="639" y="556"/>
                    </a:lnTo>
                    <a:lnTo>
                      <a:pt x="643" y="554"/>
                    </a:lnTo>
                    <a:lnTo>
                      <a:pt x="646" y="564"/>
                    </a:lnTo>
                    <a:lnTo>
                      <a:pt x="651" y="559"/>
                    </a:lnTo>
                    <a:lnTo>
                      <a:pt x="656" y="560"/>
                    </a:lnTo>
                    <a:lnTo>
                      <a:pt x="666" y="564"/>
                    </a:lnTo>
                    <a:lnTo>
                      <a:pt x="669" y="559"/>
                    </a:lnTo>
                    <a:lnTo>
                      <a:pt x="679" y="552"/>
                    </a:lnTo>
                    <a:lnTo>
                      <a:pt x="684" y="556"/>
                    </a:lnTo>
                    <a:lnTo>
                      <a:pt x="689" y="552"/>
                    </a:lnTo>
                    <a:lnTo>
                      <a:pt x="692" y="552"/>
                    </a:lnTo>
                    <a:lnTo>
                      <a:pt x="692" y="551"/>
                    </a:lnTo>
                    <a:lnTo>
                      <a:pt x="694" y="551"/>
                    </a:lnTo>
                    <a:lnTo>
                      <a:pt x="699" y="554"/>
                    </a:lnTo>
                    <a:lnTo>
                      <a:pt x="703" y="556"/>
                    </a:lnTo>
                    <a:lnTo>
                      <a:pt x="703" y="559"/>
                    </a:lnTo>
                    <a:lnTo>
                      <a:pt x="705" y="559"/>
                    </a:lnTo>
                    <a:lnTo>
                      <a:pt x="722" y="556"/>
                    </a:lnTo>
                    <a:lnTo>
                      <a:pt x="731" y="547"/>
                    </a:lnTo>
                    <a:lnTo>
                      <a:pt x="731" y="541"/>
                    </a:lnTo>
                    <a:lnTo>
                      <a:pt x="730" y="528"/>
                    </a:lnTo>
                    <a:lnTo>
                      <a:pt x="731" y="524"/>
                    </a:lnTo>
                    <a:lnTo>
                      <a:pt x="736" y="519"/>
                    </a:lnTo>
                    <a:lnTo>
                      <a:pt x="746" y="523"/>
                    </a:lnTo>
                    <a:lnTo>
                      <a:pt x="749" y="518"/>
                    </a:lnTo>
                    <a:lnTo>
                      <a:pt x="754" y="519"/>
                    </a:lnTo>
                    <a:lnTo>
                      <a:pt x="758" y="516"/>
                    </a:lnTo>
                    <a:lnTo>
                      <a:pt x="761" y="513"/>
                    </a:lnTo>
                    <a:lnTo>
                      <a:pt x="774" y="514"/>
                    </a:lnTo>
                    <a:lnTo>
                      <a:pt x="779" y="516"/>
                    </a:lnTo>
                    <a:lnTo>
                      <a:pt x="787" y="508"/>
                    </a:lnTo>
                    <a:lnTo>
                      <a:pt x="802" y="498"/>
                    </a:lnTo>
                    <a:lnTo>
                      <a:pt x="810" y="493"/>
                    </a:lnTo>
                    <a:lnTo>
                      <a:pt x="800" y="487"/>
                    </a:lnTo>
                    <a:lnTo>
                      <a:pt x="802" y="482"/>
                    </a:lnTo>
                    <a:lnTo>
                      <a:pt x="805" y="480"/>
                    </a:lnTo>
                    <a:lnTo>
                      <a:pt x="804" y="480"/>
                    </a:lnTo>
                    <a:lnTo>
                      <a:pt x="805" y="478"/>
                    </a:lnTo>
                    <a:lnTo>
                      <a:pt x="807" y="472"/>
                    </a:lnTo>
                    <a:lnTo>
                      <a:pt x="792" y="467"/>
                    </a:lnTo>
                    <a:lnTo>
                      <a:pt x="791" y="468"/>
                    </a:lnTo>
                    <a:lnTo>
                      <a:pt x="787" y="478"/>
                    </a:lnTo>
                    <a:lnTo>
                      <a:pt x="791" y="465"/>
                    </a:lnTo>
                    <a:lnTo>
                      <a:pt x="787" y="467"/>
                    </a:lnTo>
                    <a:lnTo>
                      <a:pt x="789" y="462"/>
                    </a:lnTo>
                    <a:lnTo>
                      <a:pt x="784" y="460"/>
                    </a:lnTo>
                    <a:lnTo>
                      <a:pt x="787" y="460"/>
                    </a:lnTo>
                    <a:lnTo>
                      <a:pt x="784" y="454"/>
                    </a:lnTo>
                    <a:lnTo>
                      <a:pt x="784" y="449"/>
                    </a:lnTo>
                    <a:lnTo>
                      <a:pt x="776" y="440"/>
                    </a:lnTo>
                    <a:lnTo>
                      <a:pt x="776" y="436"/>
                    </a:lnTo>
                    <a:lnTo>
                      <a:pt x="769" y="434"/>
                    </a:lnTo>
                    <a:lnTo>
                      <a:pt x="768" y="431"/>
                    </a:lnTo>
                    <a:lnTo>
                      <a:pt x="763" y="434"/>
                    </a:lnTo>
                    <a:lnTo>
                      <a:pt x="766" y="431"/>
                    </a:lnTo>
                    <a:lnTo>
                      <a:pt x="764" y="429"/>
                    </a:lnTo>
                    <a:lnTo>
                      <a:pt x="754" y="426"/>
                    </a:lnTo>
                    <a:lnTo>
                      <a:pt x="746" y="426"/>
                    </a:lnTo>
                    <a:lnTo>
                      <a:pt x="735" y="419"/>
                    </a:lnTo>
                    <a:lnTo>
                      <a:pt x="728" y="421"/>
                    </a:lnTo>
                    <a:lnTo>
                      <a:pt x="730" y="419"/>
                    </a:lnTo>
                    <a:lnTo>
                      <a:pt x="728" y="419"/>
                    </a:lnTo>
                    <a:lnTo>
                      <a:pt x="730" y="417"/>
                    </a:lnTo>
                    <a:lnTo>
                      <a:pt x="725" y="421"/>
                    </a:lnTo>
                    <a:lnTo>
                      <a:pt x="713" y="427"/>
                    </a:lnTo>
                    <a:lnTo>
                      <a:pt x="705" y="434"/>
                    </a:lnTo>
                    <a:lnTo>
                      <a:pt x="702" y="436"/>
                    </a:lnTo>
                    <a:close/>
                    <a:moveTo>
                      <a:pt x="789" y="463"/>
                    </a:moveTo>
                    <a:lnTo>
                      <a:pt x="791" y="463"/>
                    </a:lnTo>
                    <a:lnTo>
                      <a:pt x="789" y="463"/>
                    </a:ln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 18">
                <a:extLst>
                  <a:ext uri="{FF2B5EF4-FFF2-40B4-BE49-F238E27FC236}">
                    <a16:creationId xmlns:a16="http://schemas.microsoft.com/office/drawing/2014/main" id="{DA88FDF0-F8D2-4951-9727-8850B62B1A5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59299" y="3516313"/>
                <a:ext cx="1476375" cy="1398588"/>
              </a:xfrm>
              <a:custGeom>
                <a:avLst/>
                <a:gdLst>
                  <a:gd name="T0" fmla="*/ 639 w 930"/>
                  <a:gd name="T1" fmla="*/ 788 h 881"/>
                  <a:gd name="T2" fmla="*/ 595 w 930"/>
                  <a:gd name="T3" fmla="*/ 809 h 881"/>
                  <a:gd name="T4" fmla="*/ 570 w 930"/>
                  <a:gd name="T5" fmla="*/ 781 h 881"/>
                  <a:gd name="T6" fmla="*/ 532 w 930"/>
                  <a:gd name="T7" fmla="*/ 776 h 881"/>
                  <a:gd name="T8" fmla="*/ 641 w 930"/>
                  <a:gd name="T9" fmla="*/ 766 h 881"/>
                  <a:gd name="T10" fmla="*/ 583 w 930"/>
                  <a:gd name="T11" fmla="*/ 748 h 881"/>
                  <a:gd name="T12" fmla="*/ 557 w 930"/>
                  <a:gd name="T13" fmla="*/ 729 h 881"/>
                  <a:gd name="T14" fmla="*/ 599 w 930"/>
                  <a:gd name="T15" fmla="*/ 719 h 881"/>
                  <a:gd name="T16" fmla="*/ 606 w 930"/>
                  <a:gd name="T17" fmla="*/ 692 h 881"/>
                  <a:gd name="T18" fmla="*/ 645 w 930"/>
                  <a:gd name="T19" fmla="*/ 671 h 881"/>
                  <a:gd name="T20" fmla="*/ 659 w 930"/>
                  <a:gd name="T21" fmla="*/ 663 h 881"/>
                  <a:gd name="T22" fmla="*/ 714 w 930"/>
                  <a:gd name="T23" fmla="*/ 692 h 881"/>
                  <a:gd name="T24" fmla="*/ 746 w 930"/>
                  <a:gd name="T25" fmla="*/ 650 h 881"/>
                  <a:gd name="T26" fmla="*/ 752 w 930"/>
                  <a:gd name="T27" fmla="*/ 617 h 881"/>
                  <a:gd name="T28" fmla="*/ 683 w 930"/>
                  <a:gd name="T29" fmla="*/ 600 h 881"/>
                  <a:gd name="T30" fmla="*/ 747 w 930"/>
                  <a:gd name="T31" fmla="*/ 576 h 881"/>
                  <a:gd name="T32" fmla="*/ 795 w 930"/>
                  <a:gd name="T33" fmla="*/ 587 h 881"/>
                  <a:gd name="T34" fmla="*/ 779 w 930"/>
                  <a:gd name="T35" fmla="*/ 538 h 881"/>
                  <a:gd name="T36" fmla="*/ 798 w 930"/>
                  <a:gd name="T37" fmla="*/ 571 h 881"/>
                  <a:gd name="T38" fmla="*/ 856 w 930"/>
                  <a:gd name="T39" fmla="*/ 518 h 881"/>
                  <a:gd name="T40" fmla="*/ 856 w 930"/>
                  <a:gd name="T41" fmla="*/ 475 h 881"/>
                  <a:gd name="T42" fmla="*/ 880 w 930"/>
                  <a:gd name="T43" fmla="*/ 454 h 881"/>
                  <a:gd name="T44" fmla="*/ 885 w 930"/>
                  <a:gd name="T45" fmla="*/ 380 h 881"/>
                  <a:gd name="T46" fmla="*/ 905 w 930"/>
                  <a:gd name="T47" fmla="*/ 298 h 881"/>
                  <a:gd name="T48" fmla="*/ 890 w 930"/>
                  <a:gd name="T49" fmla="*/ 239 h 881"/>
                  <a:gd name="T50" fmla="*/ 913 w 930"/>
                  <a:gd name="T51" fmla="*/ 219 h 881"/>
                  <a:gd name="T52" fmla="*/ 769 w 930"/>
                  <a:gd name="T53" fmla="*/ 33 h 881"/>
                  <a:gd name="T54" fmla="*/ 668 w 930"/>
                  <a:gd name="T55" fmla="*/ 15 h 881"/>
                  <a:gd name="T56" fmla="*/ 634 w 930"/>
                  <a:gd name="T57" fmla="*/ 17 h 881"/>
                  <a:gd name="T58" fmla="*/ 576 w 930"/>
                  <a:gd name="T59" fmla="*/ 10 h 881"/>
                  <a:gd name="T60" fmla="*/ 552 w 930"/>
                  <a:gd name="T61" fmla="*/ 10 h 881"/>
                  <a:gd name="T62" fmla="*/ 521 w 930"/>
                  <a:gd name="T63" fmla="*/ 10 h 881"/>
                  <a:gd name="T64" fmla="*/ 498 w 930"/>
                  <a:gd name="T65" fmla="*/ 12 h 881"/>
                  <a:gd name="T66" fmla="*/ 450 w 930"/>
                  <a:gd name="T67" fmla="*/ 95 h 881"/>
                  <a:gd name="T68" fmla="*/ 450 w 930"/>
                  <a:gd name="T69" fmla="*/ 133 h 881"/>
                  <a:gd name="T70" fmla="*/ 434 w 930"/>
                  <a:gd name="T71" fmla="*/ 107 h 881"/>
                  <a:gd name="T72" fmla="*/ 376 w 930"/>
                  <a:gd name="T73" fmla="*/ 148 h 881"/>
                  <a:gd name="T74" fmla="*/ 197 w 930"/>
                  <a:gd name="T75" fmla="*/ 183 h 881"/>
                  <a:gd name="T76" fmla="*/ 79 w 930"/>
                  <a:gd name="T77" fmla="*/ 243 h 881"/>
                  <a:gd name="T78" fmla="*/ 131 w 930"/>
                  <a:gd name="T79" fmla="*/ 299 h 881"/>
                  <a:gd name="T80" fmla="*/ 121 w 930"/>
                  <a:gd name="T81" fmla="*/ 405 h 881"/>
                  <a:gd name="T82" fmla="*/ 26 w 930"/>
                  <a:gd name="T83" fmla="*/ 488 h 881"/>
                  <a:gd name="T84" fmla="*/ 18 w 930"/>
                  <a:gd name="T85" fmla="*/ 595 h 881"/>
                  <a:gd name="T86" fmla="*/ 116 w 930"/>
                  <a:gd name="T87" fmla="*/ 666 h 881"/>
                  <a:gd name="T88" fmla="*/ 72 w 930"/>
                  <a:gd name="T89" fmla="*/ 691 h 881"/>
                  <a:gd name="T90" fmla="*/ 125 w 930"/>
                  <a:gd name="T91" fmla="*/ 770 h 881"/>
                  <a:gd name="T92" fmla="*/ 215 w 930"/>
                  <a:gd name="T93" fmla="*/ 776 h 881"/>
                  <a:gd name="T94" fmla="*/ 307 w 930"/>
                  <a:gd name="T95" fmla="*/ 770 h 881"/>
                  <a:gd name="T96" fmla="*/ 404 w 930"/>
                  <a:gd name="T97" fmla="*/ 793 h 881"/>
                  <a:gd name="T98" fmla="*/ 411 w 930"/>
                  <a:gd name="T99" fmla="*/ 876 h 881"/>
                  <a:gd name="T100" fmla="*/ 489 w 930"/>
                  <a:gd name="T101" fmla="*/ 837 h 881"/>
                  <a:gd name="T102" fmla="*/ 517 w 930"/>
                  <a:gd name="T103" fmla="*/ 832 h 881"/>
                  <a:gd name="T104" fmla="*/ 611 w 930"/>
                  <a:gd name="T105" fmla="*/ 15 h 881"/>
                  <a:gd name="T106" fmla="*/ 619 w 930"/>
                  <a:gd name="T107" fmla="*/ 13 h 881"/>
                  <a:gd name="T108" fmla="*/ 662 w 930"/>
                  <a:gd name="T109" fmla="*/ 18 h 881"/>
                  <a:gd name="T110" fmla="*/ 825 w 930"/>
                  <a:gd name="T111" fmla="*/ 544 h 881"/>
                  <a:gd name="T112" fmla="*/ 752 w 930"/>
                  <a:gd name="T113" fmla="*/ 640 h 881"/>
                  <a:gd name="T114" fmla="*/ 756 w 930"/>
                  <a:gd name="T115" fmla="*/ 650 h 881"/>
                  <a:gd name="T116" fmla="*/ 624 w 930"/>
                  <a:gd name="T117" fmla="*/ 699 h 881"/>
                  <a:gd name="T118" fmla="*/ 570 w 930"/>
                  <a:gd name="T119" fmla="*/ 745 h 881"/>
                  <a:gd name="T120" fmla="*/ 519 w 930"/>
                  <a:gd name="T121" fmla="*/ 849 h 881"/>
                  <a:gd name="T122" fmla="*/ 493 w 930"/>
                  <a:gd name="T123" fmla="*/ 837 h 881"/>
                  <a:gd name="T124" fmla="*/ 524 w 930"/>
                  <a:gd name="T125" fmla="*/ 835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30" h="881">
                    <a:moveTo>
                      <a:pt x="567" y="5"/>
                    </a:moveTo>
                    <a:lnTo>
                      <a:pt x="572" y="7"/>
                    </a:lnTo>
                    <a:lnTo>
                      <a:pt x="575" y="7"/>
                    </a:lnTo>
                    <a:lnTo>
                      <a:pt x="572" y="3"/>
                    </a:lnTo>
                    <a:lnTo>
                      <a:pt x="557" y="0"/>
                    </a:lnTo>
                    <a:lnTo>
                      <a:pt x="549" y="0"/>
                    </a:lnTo>
                    <a:lnTo>
                      <a:pt x="544" y="2"/>
                    </a:lnTo>
                    <a:lnTo>
                      <a:pt x="544" y="3"/>
                    </a:lnTo>
                    <a:lnTo>
                      <a:pt x="545" y="2"/>
                    </a:lnTo>
                    <a:lnTo>
                      <a:pt x="547" y="3"/>
                    </a:lnTo>
                    <a:lnTo>
                      <a:pt x="547" y="2"/>
                    </a:lnTo>
                    <a:lnTo>
                      <a:pt x="552" y="0"/>
                    </a:lnTo>
                    <a:lnTo>
                      <a:pt x="550" y="3"/>
                    </a:lnTo>
                    <a:lnTo>
                      <a:pt x="550" y="7"/>
                    </a:lnTo>
                    <a:lnTo>
                      <a:pt x="552" y="5"/>
                    </a:lnTo>
                    <a:lnTo>
                      <a:pt x="555" y="5"/>
                    </a:lnTo>
                    <a:lnTo>
                      <a:pt x="555" y="3"/>
                    </a:lnTo>
                    <a:lnTo>
                      <a:pt x="557" y="5"/>
                    </a:lnTo>
                    <a:lnTo>
                      <a:pt x="557" y="3"/>
                    </a:lnTo>
                    <a:lnTo>
                      <a:pt x="557" y="5"/>
                    </a:lnTo>
                    <a:lnTo>
                      <a:pt x="567" y="7"/>
                    </a:lnTo>
                    <a:lnTo>
                      <a:pt x="568" y="7"/>
                    </a:lnTo>
                    <a:lnTo>
                      <a:pt x="570" y="7"/>
                    </a:lnTo>
                    <a:lnTo>
                      <a:pt x="567" y="5"/>
                    </a:lnTo>
                    <a:close/>
                    <a:moveTo>
                      <a:pt x="609" y="822"/>
                    </a:moveTo>
                    <a:lnTo>
                      <a:pt x="606" y="821"/>
                    </a:lnTo>
                    <a:lnTo>
                      <a:pt x="603" y="821"/>
                    </a:lnTo>
                    <a:lnTo>
                      <a:pt x="606" y="821"/>
                    </a:lnTo>
                    <a:lnTo>
                      <a:pt x="606" y="819"/>
                    </a:lnTo>
                    <a:lnTo>
                      <a:pt x="613" y="822"/>
                    </a:lnTo>
                    <a:lnTo>
                      <a:pt x="619" y="816"/>
                    </a:lnTo>
                    <a:lnTo>
                      <a:pt x="622" y="816"/>
                    </a:lnTo>
                    <a:lnTo>
                      <a:pt x="637" y="803"/>
                    </a:lnTo>
                    <a:lnTo>
                      <a:pt x="647" y="788"/>
                    </a:lnTo>
                    <a:lnTo>
                      <a:pt x="647" y="786"/>
                    </a:lnTo>
                    <a:lnTo>
                      <a:pt x="639" y="788"/>
                    </a:lnTo>
                    <a:lnTo>
                      <a:pt x="627" y="789"/>
                    </a:lnTo>
                    <a:lnTo>
                      <a:pt x="619" y="789"/>
                    </a:lnTo>
                    <a:lnTo>
                      <a:pt x="618" y="791"/>
                    </a:lnTo>
                    <a:lnTo>
                      <a:pt x="616" y="801"/>
                    </a:lnTo>
                    <a:lnTo>
                      <a:pt x="613" y="803"/>
                    </a:lnTo>
                    <a:lnTo>
                      <a:pt x="606" y="801"/>
                    </a:lnTo>
                    <a:lnTo>
                      <a:pt x="606" y="807"/>
                    </a:lnTo>
                    <a:lnTo>
                      <a:pt x="604" y="811"/>
                    </a:lnTo>
                    <a:lnTo>
                      <a:pt x="604" y="814"/>
                    </a:lnTo>
                    <a:lnTo>
                      <a:pt x="603" y="812"/>
                    </a:lnTo>
                    <a:lnTo>
                      <a:pt x="601" y="814"/>
                    </a:lnTo>
                    <a:lnTo>
                      <a:pt x="606" y="806"/>
                    </a:lnTo>
                    <a:lnTo>
                      <a:pt x="604" y="801"/>
                    </a:lnTo>
                    <a:lnTo>
                      <a:pt x="603" y="799"/>
                    </a:lnTo>
                    <a:lnTo>
                      <a:pt x="598" y="801"/>
                    </a:lnTo>
                    <a:lnTo>
                      <a:pt x="595" y="806"/>
                    </a:lnTo>
                    <a:lnTo>
                      <a:pt x="596" y="809"/>
                    </a:lnTo>
                    <a:lnTo>
                      <a:pt x="598" y="811"/>
                    </a:lnTo>
                    <a:lnTo>
                      <a:pt x="598" y="812"/>
                    </a:lnTo>
                    <a:lnTo>
                      <a:pt x="598" y="811"/>
                    </a:lnTo>
                    <a:lnTo>
                      <a:pt x="595" y="809"/>
                    </a:lnTo>
                    <a:lnTo>
                      <a:pt x="591" y="812"/>
                    </a:lnTo>
                    <a:lnTo>
                      <a:pt x="596" y="814"/>
                    </a:lnTo>
                    <a:lnTo>
                      <a:pt x="595" y="816"/>
                    </a:lnTo>
                    <a:lnTo>
                      <a:pt x="593" y="816"/>
                    </a:lnTo>
                    <a:lnTo>
                      <a:pt x="595" y="816"/>
                    </a:lnTo>
                    <a:lnTo>
                      <a:pt x="593" y="814"/>
                    </a:lnTo>
                    <a:lnTo>
                      <a:pt x="591" y="814"/>
                    </a:lnTo>
                    <a:lnTo>
                      <a:pt x="595" y="816"/>
                    </a:lnTo>
                    <a:lnTo>
                      <a:pt x="590" y="817"/>
                    </a:lnTo>
                    <a:lnTo>
                      <a:pt x="588" y="817"/>
                    </a:lnTo>
                    <a:lnTo>
                      <a:pt x="593" y="816"/>
                    </a:lnTo>
                    <a:lnTo>
                      <a:pt x="593" y="814"/>
                    </a:lnTo>
                    <a:lnTo>
                      <a:pt x="590" y="814"/>
                    </a:lnTo>
                    <a:lnTo>
                      <a:pt x="590" y="811"/>
                    </a:lnTo>
                    <a:lnTo>
                      <a:pt x="595" y="809"/>
                    </a:lnTo>
                    <a:lnTo>
                      <a:pt x="595" y="806"/>
                    </a:lnTo>
                    <a:lnTo>
                      <a:pt x="580" y="809"/>
                    </a:lnTo>
                    <a:lnTo>
                      <a:pt x="578" y="811"/>
                    </a:lnTo>
                    <a:lnTo>
                      <a:pt x="578" y="809"/>
                    </a:lnTo>
                    <a:lnTo>
                      <a:pt x="573" y="809"/>
                    </a:lnTo>
                    <a:lnTo>
                      <a:pt x="562" y="812"/>
                    </a:lnTo>
                    <a:lnTo>
                      <a:pt x="565" y="811"/>
                    </a:lnTo>
                    <a:lnTo>
                      <a:pt x="567" y="811"/>
                    </a:lnTo>
                    <a:lnTo>
                      <a:pt x="565" y="809"/>
                    </a:lnTo>
                    <a:lnTo>
                      <a:pt x="578" y="809"/>
                    </a:lnTo>
                    <a:lnTo>
                      <a:pt x="578" y="806"/>
                    </a:lnTo>
                    <a:lnTo>
                      <a:pt x="575" y="806"/>
                    </a:lnTo>
                    <a:lnTo>
                      <a:pt x="576" y="804"/>
                    </a:lnTo>
                    <a:lnTo>
                      <a:pt x="580" y="807"/>
                    </a:lnTo>
                    <a:lnTo>
                      <a:pt x="593" y="804"/>
                    </a:lnTo>
                    <a:lnTo>
                      <a:pt x="599" y="799"/>
                    </a:lnTo>
                    <a:lnTo>
                      <a:pt x="598" y="796"/>
                    </a:lnTo>
                    <a:lnTo>
                      <a:pt x="593" y="793"/>
                    </a:lnTo>
                    <a:lnTo>
                      <a:pt x="591" y="789"/>
                    </a:lnTo>
                    <a:lnTo>
                      <a:pt x="585" y="793"/>
                    </a:lnTo>
                    <a:lnTo>
                      <a:pt x="586" y="789"/>
                    </a:lnTo>
                    <a:lnTo>
                      <a:pt x="591" y="789"/>
                    </a:lnTo>
                    <a:lnTo>
                      <a:pt x="596" y="794"/>
                    </a:lnTo>
                    <a:lnTo>
                      <a:pt x="598" y="794"/>
                    </a:lnTo>
                    <a:lnTo>
                      <a:pt x="599" y="798"/>
                    </a:lnTo>
                    <a:lnTo>
                      <a:pt x="599" y="799"/>
                    </a:lnTo>
                    <a:lnTo>
                      <a:pt x="613" y="801"/>
                    </a:lnTo>
                    <a:lnTo>
                      <a:pt x="616" y="799"/>
                    </a:lnTo>
                    <a:lnTo>
                      <a:pt x="616" y="789"/>
                    </a:lnTo>
                    <a:lnTo>
                      <a:pt x="586" y="784"/>
                    </a:lnTo>
                    <a:lnTo>
                      <a:pt x="585" y="788"/>
                    </a:lnTo>
                    <a:lnTo>
                      <a:pt x="586" y="784"/>
                    </a:lnTo>
                    <a:lnTo>
                      <a:pt x="583" y="779"/>
                    </a:lnTo>
                    <a:lnTo>
                      <a:pt x="580" y="776"/>
                    </a:lnTo>
                    <a:lnTo>
                      <a:pt x="575" y="779"/>
                    </a:lnTo>
                    <a:lnTo>
                      <a:pt x="570" y="781"/>
                    </a:lnTo>
                    <a:lnTo>
                      <a:pt x="565" y="778"/>
                    </a:lnTo>
                    <a:lnTo>
                      <a:pt x="562" y="778"/>
                    </a:lnTo>
                    <a:lnTo>
                      <a:pt x="542" y="778"/>
                    </a:lnTo>
                    <a:lnTo>
                      <a:pt x="542" y="779"/>
                    </a:lnTo>
                    <a:lnTo>
                      <a:pt x="542" y="781"/>
                    </a:lnTo>
                    <a:lnTo>
                      <a:pt x="542" y="779"/>
                    </a:lnTo>
                    <a:lnTo>
                      <a:pt x="542" y="778"/>
                    </a:lnTo>
                    <a:lnTo>
                      <a:pt x="540" y="778"/>
                    </a:lnTo>
                    <a:lnTo>
                      <a:pt x="539" y="779"/>
                    </a:lnTo>
                    <a:lnTo>
                      <a:pt x="539" y="781"/>
                    </a:lnTo>
                    <a:lnTo>
                      <a:pt x="539" y="783"/>
                    </a:lnTo>
                    <a:lnTo>
                      <a:pt x="539" y="781"/>
                    </a:lnTo>
                    <a:lnTo>
                      <a:pt x="535" y="779"/>
                    </a:lnTo>
                    <a:lnTo>
                      <a:pt x="526" y="781"/>
                    </a:lnTo>
                    <a:lnTo>
                      <a:pt x="524" y="781"/>
                    </a:lnTo>
                    <a:lnTo>
                      <a:pt x="517" y="781"/>
                    </a:lnTo>
                    <a:lnTo>
                      <a:pt x="517" y="784"/>
                    </a:lnTo>
                    <a:lnTo>
                      <a:pt x="514" y="784"/>
                    </a:lnTo>
                    <a:lnTo>
                      <a:pt x="512" y="784"/>
                    </a:lnTo>
                    <a:lnTo>
                      <a:pt x="511" y="784"/>
                    </a:lnTo>
                    <a:lnTo>
                      <a:pt x="514" y="783"/>
                    </a:lnTo>
                    <a:lnTo>
                      <a:pt x="516" y="784"/>
                    </a:lnTo>
                    <a:lnTo>
                      <a:pt x="517" y="784"/>
                    </a:lnTo>
                    <a:lnTo>
                      <a:pt x="517" y="779"/>
                    </a:lnTo>
                    <a:lnTo>
                      <a:pt x="521" y="779"/>
                    </a:lnTo>
                    <a:lnTo>
                      <a:pt x="524" y="781"/>
                    </a:lnTo>
                    <a:lnTo>
                      <a:pt x="522" y="776"/>
                    </a:lnTo>
                    <a:lnTo>
                      <a:pt x="521" y="776"/>
                    </a:lnTo>
                    <a:lnTo>
                      <a:pt x="522" y="776"/>
                    </a:lnTo>
                    <a:lnTo>
                      <a:pt x="524" y="776"/>
                    </a:lnTo>
                    <a:lnTo>
                      <a:pt x="524" y="781"/>
                    </a:lnTo>
                    <a:lnTo>
                      <a:pt x="527" y="779"/>
                    </a:lnTo>
                    <a:lnTo>
                      <a:pt x="530" y="779"/>
                    </a:lnTo>
                    <a:lnTo>
                      <a:pt x="537" y="779"/>
                    </a:lnTo>
                    <a:lnTo>
                      <a:pt x="539" y="778"/>
                    </a:lnTo>
                    <a:lnTo>
                      <a:pt x="532" y="776"/>
                    </a:lnTo>
                    <a:lnTo>
                      <a:pt x="532" y="775"/>
                    </a:lnTo>
                    <a:lnTo>
                      <a:pt x="542" y="776"/>
                    </a:lnTo>
                    <a:lnTo>
                      <a:pt x="542" y="773"/>
                    </a:lnTo>
                    <a:lnTo>
                      <a:pt x="540" y="771"/>
                    </a:lnTo>
                    <a:lnTo>
                      <a:pt x="540" y="770"/>
                    </a:lnTo>
                    <a:lnTo>
                      <a:pt x="545" y="773"/>
                    </a:lnTo>
                    <a:lnTo>
                      <a:pt x="545" y="775"/>
                    </a:lnTo>
                    <a:lnTo>
                      <a:pt x="544" y="773"/>
                    </a:lnTo>
                    <a:lnTo>
                      <a:pt x="544" y="776"/>
                    </a:lnTo>
                    <a:lnTo>
                      <a:pt x="553" y="776"/>
                    </a:lnTo>
                    <a:lnTo>
                      <a:pt x="555" y="776"/>
                    </a:lnTo>
                    <a:lnTo>
                      <a:pt x="560" y="776"/>
                    </a:lnTo>
                    <a:lnTo>
                      <a:pt x="562" y="775"/>
                    </a:lnTo>
                    <a:lnTo>
                      <a:pt x="563" y="773"/>
                    </a:lnTo>
                    <a:lnTo>
                      <a:pt x="568" y="773"/>
                    </a:lnTo>
                    <a:lnTo>
                      <a:pt x="572" y="775"/>
                    </a:lnTo>
                    <a:lnTo>
                      <a:pt x="573" y="771"/>
                    </a:lnTo>
                    <a:lnTo>
                      <a:pt x="573" y="773"/>
                    </a:lnTo>
                    <a:lnTo>
                      <a:pt x="578" y="773"/>
                    </a:lnTo>
                    <a:lnTo>
                      <a:pt x="585" y="778"/>
                    </a:lnTo>
                    <a:lnTo>
                      <a:pt x="591" y="783"/>
                    </a:lnTo>
                    <a:lnTo>
                      <a:pt x="593" y="783"/>
                    </a:lnTo>
                    <a:lnTo>
                      <a:pt x="593" y="781"/>
                    </a:lnTo>
                    <a:lnTo>
                      <a:pt x="593" y="783"/>
                    </a:lnTo>
                    <a:lnTo>
                      <a:pt x="596" y="783"/>
                    </a:lnTo>
                    <a:lnTo>
                      <a:pt x="601" y="784"/>
                    </a:lnTo>
                    <a:lnTo>
                      <a:pt x="606" y="784"/>
                    </a:lnTo>
                    <a:lnTo>
                      <a:pt x="613" y="786"/>
                    </a:lnTo>
                    <a:lnTo>
                      <a:pt x="624" y="784"/>
                    </a:lnTo>
                    <a:lnTo>
                      <a:pt x="629" y="784"/>
                    </a:lnTo>
                    <a:lnTo>
                      <a:pt x="637" y="781"/>
                    </a:lnTo>
                    <a:lnTo>
                      <a:pt x="641" y="778"/>
                    </a:lnTo>
                    <a:lnTo>
                      <a:pt x="641" y="768"/>
                    </a:lnTo>
                    <a:lnTo>
                      <a:pt x="641" y="766"/>
                    </a:lnTo>
                    <a:lnTo>
                      <a:pt x="639" y="768"/>
                    </a:lnTo>
                    <a:lnTo>
                      <a:pt x="641" y="766"/>
                    </a:lnTo>
                    <a:lnTo>
                      <a:pt x="639" y="766"/>
                    </a:lnTo>
                    <a:lnTo>
                      <a:pt x="641" y="765"/>
                    </a:lnTo>
                    <a:lnTo>
                      <a:pt x="641" y="763"/>
                    </a:lnTo>
                    <a:lnTo>
                      <a:pt x="642" y="763"/>
                    </a:lnTo>
                    <a:lnTo>
                      <a:pt x="641" y="763"/>
                    </a:lnTo>
                    <a:lnTo>
                      <a:pt x="642" y="763"/>
                    </a:lnTo>
                    <a:lnTo>
                      <a:pt x="642" y="756"/>
                    </a:lnTo>
                    <a:lnTo>
                      <a:pt x="645" y="750"/>
                    </a:lnTo>
                    <a:lnTo>
                      <a:pt x="641" y="742"/>
                    </a:lnTo>
                    <a:lnTo>
                      <a:pt x="645" y="729"/>
                    </a:lnTo>
                    <a:lnTo>
                      <a:pt x="645" y="724"/>
                    </a:lnTo>
                    <a:lnTo>
                      <a:pt x="642" y="719"/>
                    </a:lnTo>
                    <a:lnTo>
                      <a:pt x="637" y="714"/>
                    </a:lnTo>
                    <a:lnTo>
                      <a:pt x="627" y="715"/>
                    </a:lnTo>
                    <a:lnTo>
                      <a:pt x="624" y="717"/>
                    </a:lnTo>
                    <a:lnTo>
                      <a:pt x="622" y="722"/>
                    </a:lnTo>
                    <a:lnTo>
                      <a:pt x="619" y="727"/>
                    </a:lnTo>
                    <a:lnTo>
                      <a:pt x="611" y="732"/>
                    </a:lnTo>
                    <a:lnTo>
                      <a:pt x="609" y="732"/>
                    </a:lnTo>
                    <a:lnTo>
                      <a:pt x="604" y="732"/>
                    </a:lnTo>
                    <a:lnTo>
                      <a:pt x="599" y="729"/>
                    </a:lnTo>
                    <a:lnTo>
                      <a:pt x="590" y="730"/>
                    </a:lnTo>
                    <a:lnTo>
                      <a:pt x="590" y="735"/>
                    </a:lnTo>
                    <a:lnTo>
                      <a:pt x="591" y="737"/>
                    </a:lnTo>
                    <a:lnTo>
                      <a:pt x="590" y="737"/>
                    </a:lnTo>
                    <a:lnTo>
                      <a:pt x="588" y="737"/>
                    </a:lnTo>
                    <a:lnTo>
                      <a:pt x="586" y="737"/>
                    </a:lnTo>
                    <a:lnTo>
                      <a:pt x="581" y="738"/>
                    </a:lnTo>
                    <a:lnTo>
                      <a:pt x="583" y="740"/>
                    </a:lnTo>
                    <a:lnTo>
                      <a:pt x="583" y="745"/>
                    </a:lnTo>
                    <a:lnTo>
                      <a:pt x="585" y="745"/>
                    </a:lnTo>
                    <a:lnTo>
                      <a:pt x="583" y="747"/>
                    </a:lnTo>
                    <a:lnTo>
                      <a:pt x="585" y="747"/>
                    </a:lnTo>
                    <a:lnTo>
                      <a:pt x="583" y="748"/>
                    </a:lnTo>
                    <a:lnTo>
                      <a:pt x="585" y="750"/>
                    </a:lnTo>
                    <a:lnTo>
                      <a:pt x="583" y="748"/>
                    </a:lnTo>
                    <a:lnTo>
                      <a:pt x="585" y="747"/>
                    </a:lnTo>
                    <a:lnTo>
                      <a:pt x="583" y="747"/>
                    </a:lnTo>
                    <a:lnTo>
                      <a:pt x="585" y="747"/>
                    </a:lnTo>
                    <a:lnTo>
                      <a:pt x="583" y="747"/>
                    </a:lnTo>
                    <a:lnTo>
                      <a:pt x="583" y="745"/>
                    </a:lnTo>
                    <a:lnTo>
                      <a:pt x="583" y="743"/>
                    </a:lnTo>
                    <a:lnTo>
                      <a:pt x="583" y="740"/>
                    </a:lnTo>
                    <a:lnTo>
                      <a:pt x="578" y="742"/>
                    </a:lnTo>
                    <a:lnTo>
                      <a:pt x="576" y="745"/>
                    </a:lnTo>
                    <a:lnTo>
                      <a:pt x="572" y="748"/>
                    </a:lnTo>
                    <a:lnTo>
                      <a:pt x="573" y="747"/>
                    </a:lnTo>
                    <a:lnTo>
                      <a:pt x="572" y="747"/>
                    </a:lnTo>
                    <a:lnTo>
                      <a:pt x="572" y="748"/>
                    </a:lnTo>
                    <a:lnTo>
                      <a:pt x="570" y="748"/>
                    </a:lnTo>
                    <a:lnTo>
                      <a:pt x="570" y="747"/>
                    </a:lnTo>
                    <a:lnTo>
                      <a:pt x="572" y="747"/>
                    </a:lnTo>
                    <a:lnTo>
                      <a:pt x="570" y="745"/>
                    </a:lnTo>
                    <a:lnTo>
                      <a:pt x="572" y="745"/>
                    </a:lnTo>
                    <a:lnTo>
                      <a:pt x="575" y="747"/>
                    </a:lnTo>
                    <a:lnTo>
                      <a:pt x="573" y="743"/>
                    </a:lnTo>
                    <a:lnTo>
                      <a:pt x="576" y="743"/>
                    </a:lnTo>
                    <a:lnTo>
                      <a:pt x="575" y="742"/>
                    </a:lnTo>
                    <a:lnTo>
                      <a:pt x="581" y="737"/>
                    </a:lnTo>
                    <a:lnTo>
                      <a:pt x="576" y="735"/>
                    </a:lnTo>
                    <a:lnTo>
                      <a:pt x="575" y="737"/>
                    </a:lnTo>
                    <a:lnTo>
                      <a:pt x="573" y="738"/>
                    </a:lnTo>
                    <a:lnTo>
                      <a:pt x="575" y="737"/>
                    </a:lnTo>
                    <a:lnTo>
                      <a:pt x="575" y="735"/>
                    </a:lnTo>
                    <a:lnTo>
                      <a:pt x="573" y="735"/>
                    </a:lnTo>
                    <a:lnTo>
                      <a:pt x="573" y="737"/>
                    </a:lnTo>
                    <a:lnTo>
                      <a:pt x="573" y="735"/>
                    </a:lnTo>
                    <a:lnTo>
                      <a:pt x="563" y="732"/>
                    </a:lnTo>
                    <a:lnTo>
                      <a:pt x="563" y="733"/>
                    </a:lnTo>
                    <a:lnTo>
                      <a:pt x="560" y="733"/>
                    </a:lnTo>
                    <a:lnTo>
                      <a:pt x="562" y="732"/>
                    </a:lnTo>
                    <a:lnTo>
                      <a:pt x="557" y="729"/>
                    </a:lnTo>
                    <a:lnTo>
                      <a:pt x="557" y="727"/>
                    </a:lnTo>
                    <a:lnTo>
                      <a:pt x="553" y="725"/>
                    </a:lnTo>
                    <a:lnTo>
                      <a:pt x="550" y="722"/>
                    </a:lnTo>
                    <a:lnTo>
                      <a:pt x="547" y="720"/>
                    </a:lnTo>
                    <a:lnTo>
                      <a:pt x="545" y="719"/>
                    </a:lnTo>
                    <a:lnTo>
                      <a:pt x="544" y="717"/>
                    </a:lnTo>
                    <a:lnTo>
                      <a:pt x="545" y="719"/>
                    </a:lnTo>
                    <a:lnTo>
                      <a:pt x="547" y="720"/>
                    </a:lnTo>
                    <a:lnTo>
                      <a:pt x="550" y="722"/>
                    </a:lnTo>
                    <a:lnTo>
                      <a:pt x="552" y="722"/>
                    </a:lnTo>
                    <a:lnTo>
                      <a:pt x="553" y="720"/>
                    </a:lnTo>
                    <a:lnTo>
                      <a:pt x="552" y="722"/>
                    </a:lnTo>
                    <a:lnTo>
                      <a:pt x="555" y="725"/>
                    </a:lnTo>
                    <a:lnTo>
                      <a:pt x="560" y="727"/>
                    </a:lnTo>
                    <a:lnTo>
                      <a:pt x="562" y="720"/>
                    </a:lnTo>
                    <a:lnTo>
                      <a:pt x="570" y="724"/>
                    </a:lnTo>
                    <a:lnTo>
                      <a:pt x="572" y="724"/>
                    </a:lnTo>
                    <a:lnTo>
                      <a:pt x="570" y="722"/>
                    </a:lnTo>
                    <a:lnTo>
                      <a:pt x="573" y="724"/>
                    </a:lnTo>
                    <a:lnTo>
                      <a:pt x="575" y="722"/>
                    </a:lnTo>
                    <a:lnTo>
                      <a:pt x="573" y="724"/>
                    </a:lnTo>
                    <a:lnTo>
                      <a:pt x="575" y="722"/>
                    </a:lnTo>
                    <a:lnTo>
                      <a:pt x="573" y="722"/>
                    </a:lnTo>
                    <a:lnTo>
                      <a:pt x="573" y="720"/>
                    </a:lnTo>
                    <a:lnTo>
                      <a:pt x="576" y="720"/>
                    </a:lnTo>
                    <a:lnTo>
                      <a:pt x="580" y="719"/>
                    </a:lnTo>
                    <a:lnTo>
                      <a:pt x="578" y="717"/>
                    </a:lnTo>
                    <a:lnTo>
                      <a:pt x="581" y="719"/>
                    </a:lnTo>
                    <a:lnTo>
                      <a:pt x="583" y="719"/>
                    </a:lnTo>
                    <a:lnTo>
                      <a:pt x="581" y="719"/>
                    </a:lnTo>
                    <a:lnTo>
                      <a:pt x="585" y="715"/>
                    </a:lnTo>
                    <a:lnTo>
                      <a:pt x="585" y="719"/>
                    </a:lnTo>
                    <a:lnTo>
                      <a:pt x="588" y="720"/>
                    </a:lnTo>
                    <a:lnTo>
                      <a:pt x="590" y="715"/>
                    </a:lnTo>
                    <a:lnTo>
                      <a:pt x="596" y="719"/>
                    </a:lnTo>
                    <a:lnTo>
                      <a:pt x="599" y="719"/>
                    </a:lnTo>
                    <a:lnTo>
                      <a:pt x="601" y="719"/>
                    </a:lnTo>
                    <a:lnTo>
                      <a:pt x="604" y="719"/>
                    </a:lnTo>
                    <a:lnTo>
                      <a:pt x="611" y="717"/>
                    </a:lnTo>
                    <a:lnTo>
                      <a:pt x="609" y="715"/>
                    </a:lnTo>
                    <a:lnTo>
                      <a:pt x="609" y="714"/>
                    </a:lnTo>
                    <a:lnTo>
                      <a:pt x="609" y="715"/>
                    </a:lnTo>
                    <a:lnTo>
                      <a:pt x="613" y="717"/>
                    </a:lnTo>
                    <a:lnTo>
                      <a:pt x="621" y="709"/>
                    </a:lnTo>
                    <a:lnTo>
                      <a:pt x="614" y="705"/>
                    </a:lnTo>
                    <a:lnTo>
                      <a:pt x="609" y="709"/>
                    </a:lnTo>
                    <a:lnTo>
                      <a:pt x="614" y="704"/>
                    </a:lnTo>
                    <a:lnTo>
                      <a:pt x="608" y="704"/>
                    </a:lnTo>
                    <a:lnTo>
                      <a:pt x="608" y="702"/>
                    </a:lnTo>
                    <a:lnTo>
                      <a:pt x="606" y="701"/>
                    </a:lnTo>
                    <a:lnTo>
                      <a:pt x="613" y="702"/>
                    </a:lnTo>
                    <a:lnTo>
                      <a:pt x="608" y="701"/>
                    </a:lnTo>
                    <a:lnTo>
                      <a:pt x="606" y="701"/>
                    </a:lnTo>
                    <a:lnTo>
                      <a:pt x="606" y="699"/>
                    </a:lnTo>
                    <a:lnTo>
                      <a:pt x="604" y="701"/>
                    </a:lnTo>
                    <a:lnTo>
                      <a:pt x="604" y="699"/>
                    </a:lnTo>
                    <a:lnTo>
                      <a:pt x="611" y="701"/>
                    </a:lnTo>
                    <a:lnTo>
                      <a:pt x="611" y="699"/>
                    </a:lnTo>
                    <a:lnTo>
                      <a:pt x="613" y="699"/>
                    </a:lnTo>
                    <a:lnTo>
                      <a:pt x="613" y="702"/>
                    </a:lnTo>
                    <a:lnTo>
                      <a:pt x="621" y="705"/>
                    </a:lnTo>
                    <a:lnTo>
                      <a:pt x="626" y="704"/>
                    </a:lnTo>
                    <a:lnTo>
                      <a:pt x="622" y="702"/>
                    </a:lnTo>
                    <a:lnTo>
                      <a:pt x="622" y="701"/>
                    </a:lnTo>
                    <a:lnTo>
                      <a:pt x="624" y="702"/>
                    </a:lnTo>
                    <a:lnTo>
                      <a:pt x="619" y="696"/>
                    </a:lnTo>
                    <a:lnTo>
                      <a:pt x="613" y="694"/>
                    </a:lnTo>
                    <a:lnTo>
                      <a:pt x="608" y="696"/>
                    </a:lnTo>
                    <a:lnTo>
                      <a:pt x="604" y="694"/>
                    </a:lnTo>
                    <a:lnTo>
                      <a:pt x="606" y="692"/>
                    </a:lnTo>
                    <a:lnTo>
                      <a:pt x="603" y="691"/>
                    </a:lnTo>
                    <a:lnTo>
                      <a:pt x="606" y="692"/>
                    </a:lnTo>
                    <a:lnTo>
                      <a:pt x="606" y="694"/>
                    </a:lnTo>
                    <a:lnTo>
                      <a:pt x="611" y="692"/>
                    </a:lnTo>
                    <a:lnTo>
                      <a:pt x="613" y="692"/>
                    </a:lnTo>
                    <a:lnTo>
                      <a:pt x="613" y="691"/>
                    </a:lnTo>
                    <a:lnTo>
                      <a:pt x="618" y="694"/>
                    </a:lnTo>
                    <a:lnTo>
                      <a:pt x="616" y="691"/>
                    </a:lnTo>
                    <a:lnTo>
                      <a:pt x="616" y="689"/>
                    </a:lnTo>
                    <a:lnTo>
                      <a:pt x="616" y="691"/>
                    </a:lnTo>
                    <a:lnTo>
                      <a:pt x="618" y="694"/>
                    </a:lnTo>
                    <a:lnTo>
                      <a:pt x="619" y="692"/>
                    </a:lnTo>
                    <a:lnTo>
                      <a:pt x="626" y="699"/>
                    </a:lnTo>
                    <a:lnTo>
                      <a:pt x="626" y="689"/>
                    </a:lnTo>
                    <a:lnTo>
                      <a:pt x="626" y="691"/>
                    </a:lnTo>
                    <a:lnTo>
                      <a:pt x="627" y="687"/>
                    </a:lnTo>
                    <a:lnTo>
                      <a:pt x="631" y="686"/>
                    </a:lnTo>
                    <a:lnTo>
                      <a:pt x="629" y="682"/>
                    </a:lnTo>
                    <a:lnTo>
                      <a:pt x="631" y="684"/>
                    </a:lnTo>
                    <a:lnTo>
                      <a:pt x="631" y="686"/>
                    </a:lnTo>
                    <a:lnTo>
                      <a:pt x="627" y="689"/>
                    </a:lnTo>
                    <a:lnTo>
                      <a:pt x="627" y="691"/>
                    </a:lnTo>
                    <a:lnTo>
                      <a:pt x="626" y="694"/>
                    </a:lnTo>
                    <a:lnTo>
                      <a:pt x="629" y="689"/>
                    </a:lnTo>
                    <a:lnTo>
                      <a:pt x="634" y="684"/>
                    </a:lnTo>
                    <a:lnTo>
                      <a:pt x="641" y="681"/>
                    </a:lnTo>
                    <a:lnTo>
                      <a:pt x="636" y="681"/>
                    </a:lnTo>
                    <a:lnTo>
                      <a:pt x="634" y="679"/>
                    </a:lnTo>
                    <a:lnTo>
                      <a:pt x="636" y="679"/>
                    </a:lnTo>
                    <a:lnTo>
                      <a:pt x="637" y="681"/>
                    </a:lnTo>
                    <a:lnTo>
                      <a:pt x="652" y="678"/>
                    </a:lnTo>
                    <a:lnTo>
                      <a:pt x="659" y="681"/>
                    </a:lnTo>
                    <a:lnTo>
                      <a:pt x="649" y="673"/>
                    </a:lnTo>
                    <a:lnTo>
                      <a:pt x="645" y="671"/>
                    </a:lnTo>
                    <a:lnTo>
                      <a:pt x="642" y="673"/>
                    </a:lnTo>
                    <a:lnTo>
                      <a:pt x="645" y="671"/>
                    </a:lnTo>
                    <a:lnTo>
                      <a:pt x="644" y="671"/>
                    </a:lnTo>
                    <a:lnTo>
                      <a:pt x="645" y="671"/>
                    </a:lnTo>
                    <a:lnTo>
                      <a:pt x="650" y="673"/>
                    </a:lnTo>
                    <a:lnTo>
                      <a:pt x="649" y="669"/>
                    </a:lnTo>
                    <a:lnTo>
                      <a:pt x="649" y="666"/>
                    </a:lnTo>
                    <a:lnTo>
                      <a:pt x="645" y="666"/>
                    </a:lnTo>
                    <a:lnTo>
                      <a:pt x="649" y="666"/>
                    </a:lnTo>
                    <a:lnTo>
                      <a:pt x="650" y="668"/>
                    </a:lnTo>
                    <a:lnTo>
                      <a:pt x="650" y="671"/>
                    </a:lnTo>
                    <a:lnTo>
                      <a:pt x="657" y="674"/>
                    </a:lnTo>
                    <a:lnTo>
                      <a:pt x="654" y="668"/>
                    </a:lnTo>
                    <a:lnTo>
                      <a:pt x="654" y="658"/>
                    </a:lnTo>
                    <a:lnTo>
                      <a:pt x="647" y="653"/>
                    </a:lnTo>
                    <a:lnTo>
                      <a:pt x="647" y="655"/>
                    </a:lnTo>
                    <a:lnTo>
                      <a:pt x="645" y="653"/>
                    </a:lnTo>
                    <a:lnTo>
                      <a:pt x="644" y="653"/>
                    </a:lnTo>
                    <a:lnTo>
                      <a:pt x="645" y="650"/>
                    </a:lnTo>
                    <a:lnTo>
                      <a:pt x="641" y="643"/>
                    </a:lnTo>
                    <a:lnTo>
                      <a:pt x="637" y="640"/>
                    </a:lnTo>
                    <a:lnTo>
                      <a:pt x="637" y="638"/>
                    </a:lnTo>
                    <a:lnTo>
                      <a:pt x="637" y="636"/>
                    </a:lnTo>
                    <a:lnTo>
                      <a:pt x="636" y="635"/>
                    </a:lnTo>
                    <a:lnTo>
                      <a:pt x="634" y="635"/>
                    </a:lnTo>
                    <a:lnTo>
                      <a:pt x="632" y="633"/>
                    </a:lnTo>
                    <a:lnTo>
                      <a:pt x="634" y="635"/>
                    </a:lnTo>
                    <a:lnTo>
                      <a:pt x="636" y="635"/>
                    </a:lnTo>
                    <a:lnTo>
                      <a:pt x="637" y="636"/>
                    </a:lnTo>
                    <a:lnTo>
                      <a:pt x="637" y="638"/>
                    </a:lnTo>
                    <a:lnTo>
                      <a:pt x="641" y="641"/>
                    </a:lnTo>
                    <a:lnTo>
                      <a:pt x="644" y="648"/>
                    </a:lnTo>
                    <a:lnTo>
                      <a:pt x="645" y="650"/>
                    </a:lnTo>
                    <a:lnTo>
                      <a:pt x="645" y="653"/>
                    </a:lnTo>
                    <a:lnTo>
                      <a:pt x="647" y="653"/>
                    </a:lnTo>
                    <a:lnTo>
                      <a:pt x="650" y="655"/>
                    </a:lnTo>
                    <a:lnTo>
                      <a:pt x="652" y="656"/>
                    </a:lnTo>
                    <a:lnTo>
                      <a:pt x="655" y="658"/>
                    </a:lnTo>
                    <a:lnTo>
                      <a:pt x="657" y="663"/>
                    </a:lnTo>
                    <a:lnTo>
                      <a:pt x="659" y="663"/>
                    </a:lnTo>
                    <a:lnTo>
                      <a:pt x="657" y="664"/>
                    </a:lnTo>
                    <a:lnTo>
                      <a:pt x="657" y="668"/>
                    </a:lnTo>
                    <a:lnTo>
                      <a:pt x="664" y="678"/>
                    </a:lnTo>
                    <a:lnTo>
                      <a:pt x="667" y="681"/>
                    </a:lnTo>
                    <a:lnTo>
                      <a:pt x="668" y="681"/>
                    </a:lnTo>
                    <a:lnTo>
                      <a:pt x="673" y="681"/>
                    </a:lnTo>
                    <a:lnTo>
                      <a:pt x="683" y="678"/>
                    </a:lnTo>
                    <a:lnTo>
                      <a:pt x="685" y="674"/>
                    </a:lnTo>
                    <a:lnTo>
                      <a:pt x="680" y="671"/>
                    </a:lnTo>
                    <a:lnTo>
                      <a:pt x="678" y="673"/>
                    </a:lnTo>
                    <a:lnTo>
                      <a:pt x="680" y="671"/>
                    </a:lnTo>
                    <a:lnTo>
                      <a:pt x="685" y="674"/>
                    </a:lnTo>
                    <a:lnTo>
                      <a:pt x="683" y="671"/>
                    </a:lnTo>
                    <a:lnTo>
                      <a:pt x="685" y="673"/>
                    </a:lnTo>
                    <a:lnTo>
                      <a:pt x="687" y="673"/>
                    </a:lnTo>
                    <a:lnTo>
                      <a:pt x="685" y="678"/>
                    </a:lnTo>
                    <a:lnTo>
                      <a:pt x="683" y="679"/>
                    </a:lnTo>
                    <a:lnTo>
                      <a:pt x="678" y="682"/>
                    </a:lnTo>
                    <a:lnTo>
                      <a:pt x="678" y="684"/>
                    </a:lnTo>
                    <a:lnTo>
                      <a:pt x="677" y="682"/>
                    </a:lnTo>
                    <a:lnTo>
                      <a:pt x="673" y="684"/>
                    </a:lnTo>
                    <a:lnTo>
                      <a:pt x="668" y="682"/>
                    </a:lnTo>
                    <a:lnTo>
                      <a:pt x="668" y="684"/>
                    </a:lnTo>
                    <a:lnTo>
                      <a:pt x="673" y="687"/>
                    </a:lnTo>
                    <a:lnTo>
                      <a:pt x="675" y="691"/>
                    </a:lnTo>
                    <a:lnTo>
                      <a:pt x="677" y="694"/>
                    </a:lnTo>
                    <a:lnTo>
                      <a:pt x="675" y="692"/>
                    </a:lnTo>
                    <a:lnTo>
                      <a:pt x="675" y="691"/>
                    </a:lnTo>
                    <a:lnTo>
                      <a:pt x="673" y="692"/>
                    </a:lnTo>
                    <a:lnTo>
                      <a:pt x="673" y="691"/>
                    </a:lnTo>
                    <a:lnTo>
                      <a:pt x="673" y="697"/>
                    </a:lnTo>
                    <a:lnTo>
                      <a:pt x="677" y="702"/>
                    </a:lnTo>
                    <a:lnTo>
                      <a:pt x="695" y="701"/>
                    </a:lnTo>
                    <a:lnTo>
                      <a:pt x="705" y="699"/>
                    </a:lnTo>
                    <a:lnTo>
                      <a:pt x="706" y="699"/>
                    </a:lnTo>
                    <a:lnTo>
                      <a:pt x="714" y="692"/>
                    </a:lnTo>
                    <a:lnTo>
                      <a:pt x="718" y="691"/>
                    </a:lnTo>
                    <a:lnTo>
                      <a:pt x="719" y="691"/>
                    </a:lnTo>
                    <a:lnTo>
                      <a:pt x="724" y="687"/>
                    </a:lnTo>
                    <a:lnTo>
                      <a:pt x="729" y="684"/>
                    </a:lnTo>
                    <a:lnTo>
                      <a:pt x="731" y="684"/>
                    </a:lnTo>
                    <a:lnTo>
                      <a:pt x="744" y="674"/>
                    </a:lnTo>
                    <a:lnTo>
                      <a:pt x="746" y="673"/>
                    </a:lnTo>
                    <a:lnTo>
                      <a:pt x="754" y="663"/>
                    </a:lnTo>
                    <a:lnTo>
                      <a:pt x="759" y="655"/>
                    </a:lnTo>
                    <a:lnTo>
                      <a:pt x="764" y="650"/>
                    </a:lnTo>
                    <a:lnTo>
                      <a:pt x="764" y="643"/>
                    </a:lnTo>
                    <a:lnTo>
                      <a:pt x="762" y="641"/>
                    </a:lnTo>
                    <a:lnTo>
                      <a:pt x="757" y="641"/>
                    </a:lnTo>
                    <a:lnTo>
                      <a:pt x="756" y="640"/>
                    </a:lnTo>
                    <a:lnTo>
                      <a:pt x="759" y="650"/>
                    </a:lnTo>
                    <a:lnTo>
                      <a:pt x="757" y="651"/>
                    </a:lnTo>
                    <a:lnTo>
                      <a:pt x="759" y="653"/>
                    </a:lnTo>
                    <a:lnTo>
                      <a:pt x="757" y="653"/>
                    </a:lnTo>
                    <a:lnTo>
                      <a:pt x="757" y="655"/>
                    </a:lnTo>
                    <a:lnTo>
                      <a:pt x="756" y="653"/>
                    </a:lnTo>
                    <a:lnTo>
                      <a:pt x="756" y="651"/>
                    </a:lnTo>
                    <a:lnTo>
                      <a:pt x="757" y="651"/>
                    </a:lnTo>
                    <a:lnTo>
                      <a:pt x="756" y="651"/>
                    </a:lnTo>
                    <a:lnTo>
                      <a:pt x="756" y="650"/>
                    </a:lnTo>
                    <a:lnTo>
                      <a:pt x="757" y="651"/>
                    </a:lnTo>
                    <a:lnTo>
                      <a:pt x="757" y="650"/>
                    </a:lnTo>
                    <a:lnTo>
                      <a:pt x="756" y="650"/>
                    </a:lnTo>
                    <a:lnTo>
                      <a:pt x="757" y="650"/>
                    </a:lnTo>
                    <a:lnTo>
                      <a:pt x="754" y="648"/>
                    </a:lnTo>
                    <a:lnTo>
                      <a:pt x="751" y="648"/>
                    </a:lnTo>
                    <a:lnTo>
                      <a:pt x="751" y="651"/>
                    </a:lnTo>
                    <a:lnTo>
                      <a:pt x="751" y="653"/>
                    </a:lnTo>
                    <a:lnTo>
                      <a:pt x="751" y="651"/>
                    </a:lnTo>
                    <a:lnTo>
                      <a:pt x="751" y="650"/>
                    </a:lnTo>
                    <a:lnTo>
                      <a:pt x="747" y="651"/>
                    </a:lnTo>
                    <a:lnTo>
                      <a:pt x="746" y="650"/>
                    </a:lnTo>
                    <a:lnTo>
                      <a:pt x="744" y="653"/>
                    </a:lnTo>
                    <a:lnTo>
                      <a:pt x="742" y="651"/>
                    </a:lnTo>
                    <a:lnTo>
                      <a:pt x="744" y="648"/>
                    </a:lnTo>
                    <a:lnTo>
                      <a:pt x="741" y="648"/>
                    </a:lnTo>
                    <a:lnTo>
                      <a:pt x="742" y="646"/>
                    </a:lnTo>
                    <a:lnTo>
                      <a:pt x="742" y="643"/>
                    </a:lnTo>
                    <a:lnTo>
                      <a:pt x="737" y="645"/>
                    </a:lnTo>
                    <a:lnTo>
                      <a:pt x="741" y="643"/>
                    </a:lnTo>
                    <a:lnTo>
                      <a:pt x="741" y="638"/>
                    </a:lnTo>
                    <a:lnTo>
                      <a:pt x="736" y="645"/>
                    </a:lnTo>
                    <a:lnTo>
                      <a:pt x="724" y="643"/>
                    </a:lnTo>
                    <a:lnTo>
                      <a:pt x="729" y="643"/>
                    </a:lnTo>
                    <a:lnTo>
                      <a:pt x="733" y="641"/>
                    </a:lnTo>
                    <a:lnTo>
                      <a:pt x="731" y="640"/>
                    </a:lnTo>
                    <a:lnTo>
                      <a:pt x="736" y="640"/>
                    </a:lnTo>
                    <a:lnTo>
                      <a:pt x="736" y="638"/>
                    </a:lnTo>
                    <a:lnTo>
                      <a:pt x="734" y="638"/>
                    </a:lnTo>
                    <a:lnTo>
                      <a:pt x="736" y="638"/>
                    </a:lnTo>
                    <a:lnTo>
                      <a:pt x="736" y="640"/>
                    </a:lnTo>
                    <a:lnTo>
                      <a:pt x="734" y="640"/>
                    </a:lnTo>
                    <a:lnTo>
                      <a:pt x="733" y="636"/>
                    </a:lnTo>
                    <a:lnTo>
                      <a:pt x="737" y="635"/>
                    </a:lnTo>
                    <a:lnTo>
                      <a:pt x="737" y="633"/>
                    </a:lnTo>
                    <a:lnTo>
                      <a:pt x="742" y="633"/>
                    </a:lnTo>
                    <a:lnTo>
                      <a:pt x="742" y="632"/>
                    </a:lnTo>
                    <a:lnTo>
                      <a:pt x="737" y="630"/>
                    </a:lnTo>
                    <a:lnTo>
                      <a:pt x="742" y="625"/>
                    </a:lnTo>
                    <a:lnTo>
                      <a:pt x="747" y="627"/>
                    </a:lnTo>
                    <a:lnTo>
                      <a:pt x="744" y="627"/>
                    </a:lnTo>
                    <a:lnTo>
                      <a:pt x="747" y="630"/>
                    </a:lnTo>
                    <a:lnTo>
                      <a:pt x="747" y="627"/>
                    </a:lnTo>
                    <a:lnTo>
                      <a:pt x="749" y="630"/>
                    </a:lnTo>
                    <a:lnTo>
                      <a:pt x="752" y="625"/>
                    </a:lnTo>
                    <a:lnTo>
                      <a:pt x="754" y="618"/>
                    </a:lnTo>
                    <a:lnTo>
                      <a:pt x="752" y="618"/>
                    </a:lnTo>
                    <a:lnTo>
                      <a:pt x="752" y="617"/>
                    </a:lnTo>
                    <a:lnTo>
                      <a:pt x="752" y="618"/>
                    </a:lnTo>
                    <a:lnTo>
                      <a:pt x="752" y="617"/>
                    </a:lnTo>
                    <a:lnTo>
                      <a:pt x="754" y="618"/>
                    </a:lnTo>
                    <a:lnTo>
                      <a:pt x="754" y="617"/>
                    </a:lnTo>
                    <a:lnTo>
                      <a:pt x="759" y="612"/>
                    </a:lnTo>
                    <a:lnTo>
                      <a:pt x="760" y="607"/>
                    </a:lnTo>
                    <a:lnTo>
                      <a:pt x="762" y="607"/>
                    </a:lnTo>
                    <a:lnTo>
                      <a:pt x="767" y="607"/>
                    </a:lnTo>
                    <a:lnTo>
                      <a:pt x="764" y="605"/>
                    </a:lnTo>
                    <a:lnTo>
                      <a:pt x="765" y="604"/>
                    </a:lnTo>
                    <a:lnTo>
                      <a:pt x="764" y="600"/>
                    </a:lnTo>
                    <a:lnTo>
                      <a:pt x="764" y="599"/>
                    </a:lnTo>
                    <a:lnTo>
                      <a:pt x="762" y="600"/>
                    </a:lnTo>
                    <a:lnTo>
                      <a:pt x="762" y="602"/>
                    </a:lnTo>
                    <a:lnTo>
                      <a:pt x="760" y="602"/>
                    </a:lnTo>
                    <a:lnTo>
                      <a:pt x="760" y="605"/>
                    </a:lnTo>
                    <a:lnTo>
                      <a:pt x="759" y="605"/>
                    </a:lnTo>
                    <a:lnTo>
                      <a:pt x="754" y="602"/>
                    </a:lnTo>
                    <a:lnTo>
                      <a:pt x="749" y="600"/>
                    </a:lnTo>
                    <a:lnTo>
                      <a:pt x="746" y="602"/>
                    </a:lnTo>
                    <a:lnTo>
                      <a:pt x="744" y="602"/>
                    </a:lnTo>
                    <a:lnTo>
                      <a:pt x="744" y="604"/>
                    </a:lnTo>
                    <a:lnTo>
                      <a:pt x="744" y="605"/>
                    </a:lnTo>
                    <a:lnTo>
                      <a:pt x="739" y="605"/>
                    </a:lnTo>
                    <a:lnTo>
                      <a:pt x="739" y="602"/>
                    </a:lnTo>
                    <a:lnTo>
                      <a:pt x="737" y="605"/>
                    </a:lnTo>
                    <a:lnTo>
                      <a:pt x="734" y="604"/>
                    </a:lnTo>
                    <a:lnTo>
                      <a:pt x="726" y="604"/>
                    </a:lnTo>
                    <a:lnTo>
                      <a:pt x="723" y="600"/>
                    </a:lnTo>
                    <a:lnTo>
                      <a:pt x="714" y="602"/>
                    </a:lnTo>
                    <a:lnTo>
                      <a:pt x="710" y="605"/>
                    </a:lnTo>
                    <a:lnTo>
                      <a:pt x="705" y="605"/>
                    </a:lnTo>
                    <a:lnTo>
                      <a:pt x="696" y="602"/>
                    </a:lnTo>
                    <a:lnTo>
                      <a:pt x="693" y="602"/>
                    </a:lnTo>
                    <a:lnTo>
                      <a:pt x="683" y="602"/>
                    </a:lnTo>
                    <a:lnTo>
                      <a:pt x="683" y="600"/>
                    </a:lnTo>
                    <a:lnTo>
                      <a:pt x="682" y="597"/>
                    </a:lnTo>
                    <a:lnTo>
                      <a:pt x="685" y="600"/>
                    </a:lnTo>
                    <a:lnTo>
                      <a:pt x="683" y="595"/>
                    </a:lnTo>
                    <a:lnTo>
                      <a:pt x="685" y="600"/>
                    </a:lnTo>
                    <a:lnTo>
                      <a:pt x="687" y="597"/>
                    </a:lnTo>
                    <a:lnTo>
                      <a:pt x="688" y="597"/>
                    </a:lnTo>
                    <a:lnTo>
                      <a:pt x="687" y="595"/>
                    </a:lnTo>
                    <a:lnTo>
                      <a:pt x="691" y="594"/>
                    </a:lnTo>
                    <a:lnTo>
                      <a:pt x="698" y="597"/>
                    </a:lnTo>
                    <a:lnTo>
                      <a:pt x="698" y="595"/>
                    </a:lnTo>
                    <a:lnTo>
                      <a:pt x="700" y="597"/>
                    </a:lnTo>
                    <a:lnTo>
                      <a:pt x="705" y="595"/>
                    </a:lnTo>
                    <a:lnTo>
                      <a:pt x="708" y="597"/>
                    </a:lnTo>
                    <a:lnTo>
                      <a:pt x="710" y="595"/>
                    </a:lnTo>
                    <a:lnTo>
                      <a:pt x="716" y="590"/>
                    </a:lnTo>
                    <a:lnTo>
                      <a:pt x="718" y="590"/>
                    </a:lnTo>
                    <a:lnTo>
                      <a:pt x="719" y="587"/>
                    </a:lnTo>
                    <a:lnTo>
                      <a:pt x="719" y="589"/>
                    </a:lnTo>
                    <a:lnTo>
                      <a:pt x="724" y="590"/>
                    </a:lnTo>
                    <a:lnTo>
                      <a:pt x="728" y="595"/>
                    </a:lnTo>
                    <a:lnTo>
                      <a:pt x="736" y="595"/>
                    </a:lnTo>
                    <a:lnTo>
                      <a:pt x="739" y="597"/>
                    </a:lnTo>
                    <a:lnTo>
                      <a:pt x="746" y="592"/>
                    </a:lnTo>
                    <a:lnTo>
                      <a:pt x="749" y="592"/>
                    </a:lnTo>
                    <a:lnTo>
                      <a:pt x="757" y="597"/>
                    </a:lnTo>
                    <a:lnTo>
                      <a:pt x="760" y="594"/>
                    </a:lnTo>
                    <a:lnTo>
                      <a:pt x="756" y="584"/>
                    </a:lnTo>
                    <a:lnTo>
                      <a:pt x="757" y="582"/>
                    </a:lnTo>
                    <a:lnTo>
                      <a:pt x="757" y="584"/>
                    </a:lnTo>
                    <a:lnTo>
                      <a:pt x="757" y="581"/>
                    </a:lnTo>
                    <a:lnTo>
                      <a:pt x="756" y="577"/>
                    </a:lnTo>
                    <a:lnTo>
                      <a:pt x="749" y="577"/>
                    </a:lnTo>
                    <a:lnTo>
                      <a:pt x="749" y="576"/>
                    </a:lnTo>
                    <a:lnTo>
                      <a:pt x="747" y="576"/>
                    </a:lnTo>
                    <a:lnTo>
                      <a:pt x="749" y="576"/>
                    </a:lnTo>
                    <a:lnTo>
                      <a:pt x="747" y="576"/>
                    </a:lnTo>
                    <a:lnTo>
                      <a:pt x="747" y="574"/>
                    </a:lnTo>
                    <a:lnTo>
                      <a:pt x="742" y="572"/>
                    </a:lnTo>
                    <a:lnTo>
                      <a:pt x="736" y="572"/>
                    </a:lnTo>
                    <a:lnTo>
                      <a:pt x="734" y="567"/>
                    </a:lnTo>
                    <a:lnTo>
                      <a:pt x="728" y="566"/>
                    </a:lnTo>
                    <a:lnTo>
                      <a:pt x="721" y="561"/>
                    </a:lnTo>
                    <a:lnTo>
                      <a:pt x="719" y="556"/>
                    </a:lnTo>
                    <a:lnTo>
                      <a:pt x="714" y="551"/>
                    </a:lnTo>
                    <a:lnTo>
                      <a:pt x="718" y="546"/>
                    </a:lnTo>
                    <a:lnTo>
                      <a:pt x="719" y="544"/>
                    </a:lnTo>
                    <a:lnTo>
                      <a:pt x="719" y="546"/>
                    </a:lnTo>
                    <a:lnTo>
                      <a:pt x="719" y="553"/>
                    </a:lnTo>
                    <a:lnTo>
                      <a:pt x="721" y="554"/>
                    </a:lnTo>
                    <a:lnTo>
                      <a:pt x="723" y="553"/>
                    </a:lnTo>
                    <a:lnTo>
                      <a:pt x="724" y="558"/>
                    </a:lnTo>
                    <a:lnTo>
                      <a:pt x="729" y="562"/>
                    </a:lnTo>
                    <a:lnTo>
                      <a:pt x="731" y="562"/>
                    </a:lnTo>
                    <a:lnTo>
                      <a:pt x="736" y="564"/>
                    </a:lnTo>
                    <a:lnTo>
                      <a:pt x="737" y="567"/>
                    </a:lnTo>
                    <a:lnTo>
                      <a:pt x="742" y="567"/>
                    </a:lnTo>
                    <a:lnTo>
                      <a:pt x="752" y="572"/>
                    </a:lnTo>
                    <a:lnTo>
                      <a:pt x="752" y="569"/>
                    </a:lnTo>
                    <a:lnTo>
                      <a:pt x="756" y="572"/>
                    </a:lnTo>
                    <a:lnTo>
                      <a:pt x="760" y="574"/>
                    </a:lnTo>
                    <a:lnTo>
                      <a:pt x="762" y="587"/>
                    </a:lnTo>
                    <a:lnTo>
                      <a:pt x="762" y="590"/>
                    </a:lnTo>
                    <a:lnTo>
                      <a:pt x="767" y="594"/>
                    </a:lnTo>
                    <a:lnTo>
                      <a:pt x="774" y="599"/>
                    </a:lnTo>
                    <a:lnTo>
                      <a:pt x="772" y="599"/>
                    </a:lnTo>
                    <a:lnTo>
                      <a:pt x="775" y="599"/>
                    </a:lnTo>
                    <a:lnTo>
                      <a:pt x="774" y="600"/>
                    </a:lnTo>
                    <a:lnTo>
                      <a:pt x="774" y="608"/>
                    </a:lnTo>
                    <a:lnTo>
                      <a:pt x="785" y="594"/>
                    </a:lnTo>
                    <a:lnTo>
                      <a:pt x="788" y="592"/>
                    </a:lnTo>
                    <a:lnTo>
                      <a:pt x="790" y="592"/>
                    </a:lnTo>
                    <a:lnTo>
                      <a:pt x="795" y="587"/>
                    </a:lnTo>
                    <a:lnTo>
                      <a:pt x="798" y="582"/>
                    </a:lnTo>
                    <a:lnTo>
                      <a:pt x="800" y="577"/>
                    </a:lnTo>
                    <a:lnTo>
                      <a:pt x="797" y="577"/>
                    </a:lnTo>
                    <a:lnTo>
                      <a:pt x="798" y="576"/>
                    </a:lnTo>
                    <a:lnTo>
                      <a:pt x="797" y="572"/>
                    </a:lnTo>
                    <a:lnTo>
                      <a:pt x="795" y="572"/>
                    </a:lnTo>
                    <a:lnTo>
                      <a:pt x="797" y="571"/>
                    </a:lnTo>
                    <a:lnTo>
                      <a:pt x="790" y="567"/>
                    </a:lnTo>
                    <a:lnTo>
                      <a:pt x="788" y="564"/>
                    </a:lnTo>
                    <a:lnTo>
                      <a:pt x="790" y="564"/>
                    </a:lnTo>
                    <a:lnTo>
                      <a:pt x="788" y="562"/>
                    </a:lnTo>
                    <a:lnTo>
                      <a:pt x="788" y="564"/>
                    </a:lnTo>
                    <a:lnTo>
                      <a:pt x="787" y="564"/>
                    </a:lnTo>
                    <a:lnTo>
                      <a:pt x="787" y="562"/>
                    </a:lnTo>
                    <a:lnTo>
                      <a:pt x="787" y="561"/>
                    </a:lnTo>
                    <a:lnTo>
                      <a:pt x="788" y="561"/>
                    </a:lnTo>
                    <a:lnTo>
                      <a:pt x="787" y="562"/>
                    </a:lnTo>
                    <a:lnTo>
                      <a:pt x="788" y="562"/>
                    </a:lnTo>
                    <a:lnTo>
                      <a:pt x="787" y="558"/>
                    </a:lnTo>
                    <a:lnTo>
                      <a:pt x="783" y="556"/>
                    </a:lnTo>
                    <a:lnTo>
                      <a:pt x="780" y="556"/>
                    </a:lnTo>
                    <a:lnTo>
                      <a:pt x="783" y="554"/>
                    </a:lnTo>
                    <a:lnTo>
                      <a:pt x="782" y="551"/>
                    </a:lnTo>
                    <a:lnTo>
                      <a:pt x="782" y="548"/>
                    </a:lnTo>
                    <a:lnTo>
                      <a:pt x="780" y="551"/>
                    </a:lnTo>
                    <a:lnTo>
                      <a:pt x="780" y="544"/>
                    </a:lnTo>
                    <a:lnTo>
                      <a:pt x="783" y="549"/>
                    </a:lnTo>
                    <a:lnTo>
                      <a:pt x="782" y="548"/>
                    </a:lnTo>
                    <a:lnTo>
                      <a:pt x="783" y="549"/>
                    </a:lnTo>
                    <a:lnTo>
                      <a:pt x="783" y="546"/>
                    </a:lnTo>
                    <a:lnTo>
                      <a:pt x="783" y="548"/>
                    </a:lnTo>
                    <a:lnTo>
                      <a:pt x="783" y="546"/>
                    </a:lnTo>
                    <a:lnTo>
                      <a:pt x="780" y="543"/>
                    </a:lnTo>
                    <a:lnTo>
                      <a:pt x="779" y="541"/>
                    </a:lnTo>
                    <a:lnTo>
                      <a:pt x="779" y="539"/>
                    </a:lnTo>
                    <a:lnTo>
                      <a:pt x="779" y="538"/>
                    </a:lnTo>
                    <a:lnTo>
                      <a:pt x="780" y="538"/>
                    </a:lnTo>
                    <a:lnTo>
                      <a:pt x="777" y="534"/>
                    </a:lnTo>
                    <a:lnTo>
                      <a:pt x="777" y="533"/>
                    </a:lnTo>
                    <a:lnTo>
                      <a:pt x="777" y="534"/>
                    </a:lnTo>
                    <a:lnTo>
                      <a:pt x="774" y="526"/>
                    </a:lnTo>
                    <a:lnTo>
                      <a:pt x="765" y="526"/>
                    </a:lnTo>
                    <a:lnTo>
                      <a:pt x="770" y="525"/>
                    </a:lnTo>
                    <a:lnTo>
                      <a:pt x="769" y="526"/>
                    </a:lnTo>
                    <a:lnTo>
                      <a:pt x="772" y="526"/>
                    </a:lnTo>
                    <a:lnTo>
                      <a:pt x="772" y="525"/>
                    </a:lnTo>
                    <a:lnTo>
                      <a:pt x="775" y="520"/>
                    </a:lnTo>
                    <a:lnTo>
                      <a:pt x="777" y="520"/>
                    </a:lnTo>
                    <a:lnTo>
                      <a:pt x="775" y="518"/>
                    </a:lnTo>
                    <a:lnTo>
                      <a:pt x="777" y="518"/>
                    </a:lnTo>
                    <a:lnTo>
                      <a:pt x="777" y="516"/>
                    </a:lnTo>
                    <a:lnTo>
                      <a:pt x="780" y="511"/>
                    </a:lnTo>
                    <a:lnTo>
                      <a:pt x="785" y="511"/>
                    </a:lnTo>
                    <a:lnTo>
                      <a:pt x="787" y="507"/>
                    </a:lnTo>
                    <a:lnTo>
                      <a:pt x="785" y="511"/>
                    </a:lnTo>
                    <a:lnTo>
                      <a:pt x="783" y="511"/>
                    </a:lnTo>
                    <a:lnTo>
                      <a:pt x="780" y="513"/>
                    </a:lnTo>
                    <a:lnTo>
                      <a:pt x="783" y="513"/>
                    </a:lnTo>
                    <a:lnTo>
                      <a:pt x="779" y="515"/>
                    </a:lnTo>
                    <a:lnTo>
                      <a:pt x="779" y="516"/>
                    </a:lnTo>
                    <a:lnTo>
                      <a:pt x="775" y="521"/>
                    </a:lnTo>
                    <a:lnTo>
                      <a:pt x="774" y="525"/>
                    </a:lnTo>
                    <a:lnTo>
                      <a:pt x="779" y="531"/>
                    </a:lnTo>
                    <a:lnTo>
                      <a:pt x="783" y="534"/>
                    </a:lnTo>
                    <a:lnTo>
                      <a:pt x="782" y="539"/>
                    </a:lnTo>
                    <a:lnTo>
                      <a:pt x="785" y="544"/>
                    </a:lnTo>
                    <a:lnTo>
                      <a:pt x="787" y="549"/>
                    </a:lnTo>
                    <a:lnTo>
                      <a:pt x="783" y="553"/>
                    </a:lnTo>
                    <a:lnTo>
                      <a:pt x="790" y="558"/>
                    </a:lnTo>
                    <a:lnTo>
                      <a:pt x="792" y="566"/>
                    </a:lnTo>
                    <a:lnTo>
                      <a:pt x="802" y="571"/>
                    </a:lnTo>
                    <a:lnTo>
                      <a:pt x="798" y="571"/>
                    </a:lnTo>
                    <a:lnTo>
                      <a:pt x="800" y="572"/>
                    </a:lnTo>
                    <a:lnTo>
                      <a:pt x="802" y="571"/>
                    </a:lnTo>
                    <a:lnTo>
                      <a:pt x="800" y="572"/>
                    </a:lnTo>
                    <a:lnTo>
                      <a:pt x="802" y="571"/>
                    </a:lnTo>
                    <a:lnTo>
                      <a:pt x="800" y="577"/>
                    </a:lnTo>
                    <a:lnTo>
                      <a:pt x="813" y="567"/>
                    </a:lnTo>
                    <a:lnTo>
                      <a:pt x="818" y="556"/>
                    </a:lnTo>
                    <a:lnTo>
                      <a:pt x="821" y="551"/>
                    </a:lnTo>
                    <a:lnTo>
                      <a:pt x="825" y="544"/>
                    </a:lnTo>
                    <a:lnTo>
                      <a:pt x="823" y="546"/>
                    </a:lnTo>
                    <a:lnTo>
                      <a:pt x="821" y="546"/>
                    </a:lnTo>
                    <a:lnTo>
                      <a:pt x="823" y="546"/>
                    </a:lnTo>
                    <a:lnTo>
                      <a:pt x="825" y="544"/>
                    </a:lnTo>
                    <a:lnTo>
                      <a:pt x="825" y="543"/>
                    </a:lnTo>
                    <a:lnTo>
                      <a:pt x="829" y="538"/>
                    </a:lnTo>
                    <a:lnTo>
                      <a:pt x="836" y="534"/>
                    </a:lnTo>
                    <a:lnTo>
                      <a:pt x="838" y="530"/>
                    </a:lnTo>
                    <a:lnTo>
                      <a:pt x="834" y="528"/>
                    </a:lnTo>
                    <a:lnTo>
                      <a:pt x="834" y="525"/>
                    </a:lnTo>
                    <a:lnTo>
                      <a:pt x="836" y="521"/>
                    </a:lnTo>
                    <a:lnTo>
                      <a:pt x="836" y="515"/>
                    </a:lnTo>
                    <a:lnTo>
                      <a:pt x="833" y="515"/>
                    </a:lnTo>
                    <a:lnTo>
                      <a:pt x="831" y="511"/>
                    </a:lnTo>
                    <a:lnTo>
                      <a:pt x="833" y="511"/>
                    </a:lnTo>
                    <a:lnTo>
                      <a:pt x="833" y="510"/>
                    </a:lnTo>
                    <a:lnTo>
                      <a:pt x="834" y="511"/>
                    </a:lnTo>
                    <a:lnTo>
                      <a:pt x="833" y="513"/>
                    </a:lnTo>
                    <a:lnTo>
                      <a:pt x="836" y="513"/>
                    </a:lnTo>
                    <a:lnTo>
                      <a:pt x="838" y="521"/>
                    </a:lnTo>
                    <a:lnTo>
                      <a:pt x="834" y="525"/>
                    </a:lnTo>
                    <a:lnTo>
                      <a:pt x="834" y="528"/>
                    </a:lnTo>
                    <a:lnTo>
                      <a:pt x="841" y="531"/>
                    </a:lnTo>
                    <a:lnTo>
                      <a:pt x="846" y="523"/>
                    </a:lnTo>
                    <a:lnTo>
                      <a:pt x="851" y="525"/>
                    </a:lnTo>
                    <a:lnTo>
                      <a:pt x="851" y="520"/>
                    </a:lnTo>
                    <a:lnTo>
                      <a:pt x="856" y="518"/>
                    </a:lnTo>
                    <a:lnTo>
                      <a:pt x="861" y="513"/>
                    </a:lnTo>
                    <a:lnTo>
                      <a:pt x="861" y="507"/>
                    </a:lnTo>
                    <a:lnTo>
                      <a:pt x="867" y="502"/>
                    </a:lnTo>
                    <a:lnTo>
                      <a:pt x="871" y="490"/>
                    </a:lnTo>
                    <a:lnTo>
                      <a:pt x="867" y="490"/>
                    </a:lnTo>
                    <a:lnTo>
                      <a:pt x="864" y="488"/>
                    </a:lnTo>
                    <a:lnTo>
                      <a:pt x="862" y="485"/>
                    </a:lnTo>
                    <a:lnTo>
                      <a:pt x="862" y="482"/>
                    </a:lnTo>
                    <a:lnTo>
                      <a:pt x="862" y="484"/>
                    </a:lnTo>
                    <a:lnTo>
                      <a:pt x="864" y="484"/>
                    </a:lnTo>
                    <a:lnTo>
                      <a:pt x="862" y="482"/>
                    </a:lnTo>
                    <a:lnTo>
                      <a:pt x="856" y="485"/>
                    </a:lnTo>
                    <a:lnTo>
                      <a:pt x="852" y="480"/>
                    </a:lnTo>
                    <a:lnTo>
                      <a:pt x="846" y="480"/>
                    </a:lnTo>
                    <a:lnTo>
                      <a:pt x="846" y="484"/>
                    </a:lnTo>
                    <a:lnTo>
                      <a:pt x="841" y="484"/>
                    </a:lnTo>
                    <a:lnTo>
                      <a:pt x="841" y="480"/>
                    </a:lnTo>
                    <a:lnTo>
                      <a:pt x="841" y="484"/>
                    </a:lnTo>
                    <a:lnTo>
                      <a:pt x="839" y="482"/>
                    </a:lnTo>
                    <a:lnTo>
                      <a:pt x="839" y="479"/>
                    </a:lnTo>
                    <a:lnTo>
                      <a:pt x="838" y="479"/>
                    </a:lnTo>
                    <a:lnTo>
                      <a:pt x="839" y="479"/>
                    </a:lnTo>
                    <a:lnTo>
                      <a:pt x="838" y="477"/>
                    </a:lnTo>
                    <a:lnTo>
                      <a:pt x="839" y="477"/>
                    </a:lnTo>
                    <a:lnTo>
                      <a:pt x="841" y="480"/>
                    </a:lnTo>
                    <a:lnTo>
                      <a:pt x="841" y="477"/>
                    </a:lnTo>
                    <a:lnTo>
                      <a:pt x="839" y="477"/>
                    </a:lnTo>
                    <a:lnTo>
                      <a:pt x="838" y="477"/>
                    </a:lnTo>
                    <a:lnTo>
                      <a:pt x="836" y="475"/>
                    </a:lnTo>
                    <a:lnTo>
                      <a:pt x="841" y="477"/>
                    </a:lnTo>
                    <a:lnTo>
                      <a:pt x="841" y="482"/>
                    </a:lnTo>
                    <a:lnTo>
                      <a:pt x="846" y="479"/>
                    </a:lnTo>
                    <a:lnTo>
                      <a:pt x="848" y="479"/>
                    </a:lnTo>
                    <a:lnTo>
                      <a:pt x="848" y="475"/>
                    </a:lnTo>
                    <a:lnTo>
                      <a:pt x="849" y="477"/>
                    </a:lnTo>
                    <a:lnTo>
                      <a:pt x="856" y="475"/>
                    </a:lnTo>
                    <a:lnTo>
                      <a:pt x="857" y="477"/>
                    </a:lnTo>
                    <a:lnTo>
                      <a:pt x="857" y="479"/>
                    </a:lnTo>
                    <a:lnTo>
                      <a:pt x="857" y="480"/>
                    </a:lnTo>
                    <a:lnTo>
                      <a:pt x="859" y="479"/>
                    </a:lnTo>
                    <a:lnTo>
                      <a:pt x="864" y="479"/>
                    </a:lnTo>
                    <a:lnTo>
                      <a:pt x="866" y="484"/>
                    </a:lnTo>
                    <a:lnTo>
                      <a:pt x="862" y="485"/>
                    </a:lnTo>
                    <a:lnTo>
                      <a:pt x="864" y="487"/>
                    </a:lnTo>
                    <a:lnTo>
                      <a:pt x="866" y="488"/>
                    </a:lnTo>
                    <a:lnTo>
                      <a:pt x="871" y="487"/>
                    </a:lnTo>
                    <a:lnTo>
                      <a:pt x="872" y="488"/>
                    </a:lnTo>
                    <a:lnTo>
                      <a:pt x="872" y="493"/>
                    </a:lnTo>
                    <a:lnTo>
                      <a:pt x="869" y="502"/>
                    </a:lnTo>
                    <a:lnTo>
                      <a:pt x="862" y="508"/>
                    </a:lnTo>
                    <a:lnTo>
                      <a:pt x="862" y="515"/>
                    </a:lnTo>
                    <a:lnTo>
                      <a:pt x="857" y="520"/>
                    </a:lnTo>
                    <a:lnTo>
                      <a:pt x="852" y="520"/>
                    </a:lnTo>
                    <a:lnTo>
                      <a:pt x="852" y="525"/>
                    </a:lnTo>
                    <a:lnTo>
                      <a:pt x="859" y="521"/>
                    </a:lnTo>
                    <a:lnTo>
                      <a:pt x="862" y="518"/>
                    </a:lnTo>
                    <a:lnTo>
                      <a:pt x="866" y="518"/>
                    </a:lnTo>
                    <a:lnTo>
                      <a:pt x="862" y="518"/>
                    </a:lnTo>
                    <a:lnTo>
                      <a:pt x="859" y="521"/>
                    </a:lnTo>
                    <a:lnTo>
                      <a:pt x="851" y="528"/>
                    </a:lnTo>
                    <a:lnTo>
                      <a:pt x="844" y="533"/>
                    </a:lnTo>
                    <a:lnTo>
                      <a:pt x="843" y="533"/>
                    </a:lnTo>
                    <a:lnTo>
                      <a:pt x="834" y="536"/>
                    </a:lnTo>
                    <a:lnTo>
                      <a:pt x="826" y="543"/>
                    </a:lnTo>
                    <a:lnTo>
                      <a:pt x="825" y="548"/>
                    </a:lnTo>
                    <a:lnTo>
                      <a:pt x="828" y="543"/>
                    </a:lnTo>
                    <a:lnTo>
                      <a:pt x="833" y="538"/>
                    </a:lnTo>
                    <a:lnTo>
                      <a:pt x="866" y="521"/>
                    </a:lnTo>
                    <a:lnTo>
                      <a:pt x="872" y="493"/>
                    </a:lnTo>
                    <a:lnTo>
                      <a:pt x="875" y="475"/>
                    </a:lnTo>
                    <a:lnTo>
                      <a:pt x="880" y="464"/>
                    </a:lnTo>
                    <a:lnTo>
                      <a:pt x="880" y="454"/>
                    </a:lnTo>
                    <a:lnTo>
                      <a:pt x="884" y="429"/>
                    </a:lnTo>
                    <a:lnTo>
                      <a:pt x="885" y="411"/>
                    </a:lnTo>
                    <a:lnTo>
                      <a:pt x="889" y="401"/>
                    </a:lnTo>
                    <a:lnTo>
                      <a:pt x="894" y="395"/>
                    </a:lnTo>
                    <a:lnTo>
                      <a:pt x="897" y="391"/>
                    </a:lnTo>
                    <a:lnTo>
                      <a:pt x="898" y="391"/>
                    </a:lnTo>
                    <a:lnTo>
                      <a:pt x="897" y="391"/>
                    </a:lnTo>
                    <a:lnTo>
                      <a:pt x="897" y="390"/>
                    </a:lnTo>
                    <a:lnTo>
                      <a:pt x="894" y="385"/>
                    </a:lnTo>
                    <a:lnTo>
                      <a:pt x="887" y="382"/>
                    </a:lnTo>
                    <a:lnTo>
                      <a:pt x="887" y="383"/>
                    </a:lnTo>
                    <a:lnTo>
                      <a:pt x="885" y="383"/>
                    </a:lnTo>
                    <a:lnTo>
                      <a:pt x="885" y="382"/>
                    </a:lnTo>
                    <a:lnTo>
                      <a:pt x="884" y="383"/>
                    </a:lnTo>
                    <a:lnTo>
                      <a:pt x="884" y="385"/>
                    </a:lnTo>
                    <a:lnTo>
                      <a:pt x="884" y="387"/>
                    </a:lnTo>
                    <a:lnTo>
                      <a:pt x="884" y="385"/>
                    </a:lnTo>
                    <a:lnTo>
                      <a:pt x="879" y="390"/>
                    </a:lnTo>
                    <a:lnTo>
                      <a:pt x="875" y="390"/>
                    </a:lnTo>
                    <a:lnTo>
                      <a:pt x="875" y="388"/>
                    </a:lnTo>
                    <a:lnTo>
                      <a:pt x="875" y="390"/>
                    </a:lnTo>
                    <a:lnTo>
                      <a:pt x="872" y="385"/>
                    </a:lnTo>
                    <a:lnTo>
                      <a:pt x="869" y="388"/>
                    </a:lnTo>
                    <a:lnTo>
                      <a:pt x="872" y="385"/>
                    </a:lnTo>
                    <a:lnTo>
                      <a:pt x="874" y="385"/>
                    </a:lnTo>
                    <a:lnTo>
                      <a:pt x="872" y="385"/>
                    </a:lnTo>
                    <a:lnTo>
                      <a:pt x="872" y="383"/>
                    </a:lnTo>
                    <a:lnTo>
                      <a:pt x="874" y="382"/>
                    </a:lnTo>
                    <a:lnTo>
                      <a:pt x="877" y="388"/>
                    </a:lnTo>
                    <a:lnTo>
                      <a:pt x="879" y="387"/>
                    </a:lnTo>
                    <a:lnTo>
                      <a:pt x="877" y="387"/>
                    </a:lnTo>
                    <a:lnTo>
                      <a:pt x="877" y="383"/>
                    </a:lnTo>
                    <a:lnTo>
                      <a:pt x="884" y="380"/>
                    </a:lnTo>
                    <a:lnTo>
                      <a:pt x="882" y="378"/>
                    </a:lnTo>
                    <a:lnTo>
                      <a:pt x="884" y="380"/>
                    </a:lnTo>
                    <a:lnTo>
                      <a:pt x="885" y="380"/>
                    </a:lnTo>
                    <a:lnTo>
                      <a:pt x="887" y="382"/>
                    </a:lnTo>
                    <a:lnTo>
                      <a:pt x="894" y="385"/>
                    </a:lnTo>
                    <a:lnTo>
                      <a:pt x="900" y="391"/>
                    </a:lnTo>
                    <a:lnTo>
                      <a:pt x="903" y="380"/>
                    </a:lnTo>
                    <a:lnTo>
                      <a:pt x="907" y="367"/>
                    </a:lnTo>
                    <a:lnTo>
                      <a:pt x="918" y="340"/>
                    </a:lnTo>
                    <a:lnTo>
                      <a:pt x="918" y="322"/>
                    </a:lnTo>
                    <a:lnTo>
                      <a:pt x="920" y="316"/>
                    </a:lnTo>
                    <a:lnTo>
                      <a:pt x="921" y="311"/>
                    </a:lnTo>
                    <a:lnTo>
                      <a:pt x="923" y="308"/>
                    </a:lnTo>
                    <a:lnTo>
                      <a:pt x="925" y="303"/>
                    </a:lnTo>
                    <a:lnTo>
                      <a:pt x="928" y="299"/>
                    </a:lnTo>
                    <a:lnTo>
                      <a:pt x="921" y="301"/>
                    </a:lnTo>
                    <a:lnTo>
                      <a:pt x="921" y="299"/>
                    </a:lnTo>
                    <a:lnTo>
                      <a:pt x="918" y="299"/>
                    </a:lnTo>
                    <a:lnTo>
                      <a:pt x="915" y="298"/>
                    </a:lnTo>
                    <a:lnTo>
                      <a:pt x="913" y="299"/>
                    </a:lnTo>
                    <a:lnTo>
                      <a:pt x="910" y="298"/>
                    </a:lnTo>
                    <a:lnTo>
                      <a:pt x="908" y="301"/>
                    </a:lnTo>
                    <a:lnTo>
                      <a:pt x="905" y="301"/>
                    </a:lnTo>
                    <a:lnTo>
                      <a:pt x="903" y="299"/>
                    </a:lnTo>
                    <a:lnTo>
                      <a:pt x="902" y="298"/>
                    </a:lnTo>
                    <a:lnTo>
                      <a:pt x="902" y="290"/>
                    </a:lnTo>
                    <a:lnTo>
                      <a:pt x="898" y="294"/>
                    </a:lnTo>
                    <a:lnTo>
                      <a:pt x="898" y="296"/>
                    </a:lnTo>
                    <a:lnTo>
                      <a:pt x="897" y="294"/>
                    </a:lnTo>
                    <a:lnTo>
                      <a:pt x="902" y="290"/>
                    </a:lnTo>
                    <a:lnTo>
                      <a:pt x="902" y="286"/>
                    </a:lnTo>
                    <a:lnTo>
                      <a:pt x="900" y="285"/>
                    </a:lnTo>
                    <a:lnTo>
                      <a:pt x="898" y="283"/>
                    </a:lnTo>
                    <a:lnTo>
                      <a:pt x="898" y="281"/>
                    </a:lnTo>
                    <a:lnTo>
                      <a:pt x="900" y="285"/>
                    </a:lnTo>
                    <a:lnTo>
                      <a:pt x="902" y="286"/>
                    </a:lnTo>
                    <a:lnTo>
                      <a:pt x="902" y="296"/>
                    </a:lnTo>
                    <a:lnTo>
                      <a:pt x="903" y="298"/>
                    </a:lnTo>
                    <a:lnTo>
                      <a:pt x="905" y="298"/>
                    </a:lnTo>
                    <a:lnTo>
                      <a:pt x="908" y="298"/>
                    </a:lnTo>
                    <a:lnTo>
                      <a:pt x="912" y="296"/>
                    </a:lnTo>
                    <a:lnTo>
                      <a:pt x="913" y="298"/>
                    </a:lnTo>
                    <a:lnTo>
                      <a:pt x="915" y="296"/>
                    </a:lnTo>
                    <a:lnTo>
                      <a:pt x="918" y="298"/>
                    </a:lnTo>
                    <a:lnTo>
                      <a:pt x="921" y="298"/>
                    </a:lnTo>
                    <a:lnTo>
                      <a:pt x="921" y="299"/>
                    </a:lnTo>
                    <a:lnTo>
                      <a:pt x="925" y="299"/>
                    </a:lnTo>
                    <a:lnTo>
                      <a:pt x="928" y="299"/>
                    </a:lnTo>
                    <a:lnTo>
                      <a:pt x="928" y="298"/>
                    </a:lnTo>
                    <a:lnTo>
                      <a:pt x="930" y="298"/>
                    </a:lnTo>
                    <a:lnTo>
                      <a:pt x="928" y="299"/>
                    </a:lnTo>
                    <a:lnTo>
                      <a:pt x="930" y="299"/>
                    </a:lnTo>
                    <a:lnTo>
                      <a:pt x="930" y="298"/>
                    </a:lnTo>
                    <a:lnTo>
                      <a:pt x="930" y="294"/>
                    </a:lnTo>
                    <a:lnTo>
                      <a:pt x="930" y="290"/>
                    </a:lnTo>
                    <a:lnTo>
                      <a:pt x="926" y="278"/>
                    </a:lnTo>
                    <a:lnTo>
                      <a:pt x="921" y="265"/>
                    </a:lnTo>
                    <a:lnTo>
                      <a:pt x="920" y="252"/>
                    </a:lnTo>
                    <a:lnTo>
                      <a:pt x="920" y="250"/>
                    </a:lnTo>
                    <a:lnTo>
                      <a:pt x="920" y="243"/>
                    </a:lnTo>
                    <a:lnTo>
                      <a:pt x="921" y="242"/>
                    </a:lnTo>
                    <a:lnTo>
                      <a:pt x="920" y="242"/>
                    </a:lnTo>
                    <a:lnTo>
                      <a:pt x="920" y="239"/>
                    </a:lnTo>
                    <a:lnTo>
                      <a:pt x="918" y="234"/>
                    </a:lnTo>
                    <a:lnTo>
                      <a:pt x="918" y="232"/>
                    </a:lnTo>
                    <a:lnTo>
                      <a:pt x="917" y="225"/>
                    </a:lnTo>
                    <a:lnTo>
                      <a:pt x="913" y="219"/>
                    </a:lnTo>
                    <a:lnTo>
                      <a:pt x="907" y="222"/>
                    </a:lnTo>
                    <a:lnTo>
                      <a:pt x="902" y="225"/>
                    </a:lnTo>
                    <a:lnTo>
                      <a:pt x="890" y="229"/>
                    </a:lnTo>
                    <a:lnTo>
                      <a:pt x="890" y="240"/>
                    </a:lnTo>
                    <a:lnTo>
                      <a:pt x="889" y="240"/>
                    </a:lnTo>
                    <a:lnTo>
                      <a:pt x="885" y="240"/>
                    </a:lnTo>
                    <a:lnTo>
                      <a:pt x="887" y="240"/>
                    </a:lnTo>
                    <a:lnTo>
                      <a:pt x="890" y="239"/>
                    </a:lnTo>
                    <a:lnTo>
                      <a:pt x="889" y="234"/>
                    </a:lnTo>
                    <a:lnTo>
                      <a:pt x="887" y="234"/>
                    </a:lnTo>
                    <a:lnTo>
                      <a:pt x="885" y="237"/>
                    </a:lnTo>
                    <a:lnTo>
                      <a:pt x="884" y="237"/>
                    </a:lnTo>
                    <a:lnTo>
                      <a:pt x="882" y="240"/>
                    </a:lnTo>
                    <a:lnTo>
                      <a:pt x="875" y="240"/>
                    </a:lnTo>
                    <a:lnTo>
                      <a:pt x="875" y="243"/>
                    </a:lnTo>
                    <a:lnTo>
                      <a:pt x="874" y="245"/>
                    </a:lnTo>
                    <a:lnTo>
                      <a:pt x="871" y="250"/>
                    </a:lnTo>
                    <a:lnTo>
                      <a:pt x="866" y="252"/>
                    </a:lnTo>
                    <a:lnTo>
                      <a:pt x="874" y="258"/>
                    </a:lnTo>
                    <a:lnTo>
                      <a:pt x="880" y="265"/>
                    </a:lnTo>
                    <a:lnTo>
                      <a:pt x="880" y="263"/>
                    </a:lnTo>
                    <a:lnTo>
                      <a:pt x="880" y="262"/>
                    </a:lnTo>
                    <a:lnTo>
                      <a:pt x="875" y="260"/>
                    </a:lnTo>
                    <a:lnTo>
                      <a:pt x="880" y="260"/>
                    </a:lnTo>
                    <a:lnTo>
                      <a:pt x="880" y="263"/>
                    </a:lnTo>
                    <a:lnTo>
                      <a:pt x="880" y="265"/>
                    </a:lnTo>
                    <a:lnTo>
                      <a:pt x="882" y="266"/>
                    </a:lnTo>
                    <a:lnTo>
                      <a:pt x="877" y="262"/>
                    </a:lnTo>
                    <a:lnTo>
                      <a:pt x="866" y="252"/>
                    </a:lnTo>
                    <a:lnTo>
                      <a:pt x="866" y="250"/>
                    </a:lnTo>
                    <a:lnTo>
                      <a:pt x="871" y="250"/>
                    </a:lnTo>
                    <a:lnTo>
                      <a:pt x="874" y="245"/>
                    </a:lnTo>
                    <a:lnTo>
                      <a:pt x="875" y="243"/>
                    </a:lnTo>
                    <a:lnTo>
                      <a:pt x="875" y="240"/>
                    </a:lnTo>
                    <a:lnTo>
                      <a:pt x="882" y="240"/>
                    </a:lnTo>
                    <a:lnTo>
                      <a:pt x="884" y="237"/>
                    </a:lnTo>
                    <a:lnTo>
                      <a:pt x="885" y="237"/>
                    </a:lnTo>
                    <a:lnTo>
                      <a:pt x="887" y="234"/>
                    </a:lnTo>
                    <a:lnTo>
                      <a:pt x="889" y="232"/>
                    </a:lnTo>
                    <a:lnTo>
                      <a:pt x="894" y="224"/>
                    </a:lnTo>
                    <a:lnTo>
                      <a:pt x="902" y="220"/>
                    </a:lnTo>
                    <a:lnTo>
                      <a:pt x="907" y="216"/>
                    </a:lnTo>
                    <a:lnTo>
                      <a:pt x="912" y="216"/>
                    </a:lnTo>
                    <a:lnTo>
                      <a:pt x="913" y="219"/>
                    </a:lnTo>
                    <a:lnTo>
                      <a:pt x="915" y="219"/>
                    </a:lnTo>
                    <a:lnTo>
                      <a:pt x="917" y="217"/>
                    </a:lnTo>
                    <a:lnTo>
                      <a:pt x="917" y="219"/>
                    </a:lnTo>
                    <a:lnTo>
                      <a:pt x="915" y="220"/>
                    </a:lnTo>
                    <a:lnTo>
                      <a:pt x="917" y="222"/>
                    </a:lnTo>
                    <a:lnTo>
                      <a:pt x="917" y="224"/>
                    </a:lnTo>
                    <a:lnTo>
                      <a:pt x="918" y="229"/>
                    </a:lnTo>
                    <a:lnTo>
                      <a:pt x="920" y="242"/>
                    </a:lnTo>
                    <a:lnTo>
                      <a:pt x="923" y="240"/>
                    </a:lnTo>
                    <a:lnTo>
                      <a:pt x="921" y="240"/>
                    </a:lnTo>
                    <a:lnTo>
                      <a:pt x="921" y="237"/>
                    </a:lnTo>
                    <a:lnTo>
                      <a:pt x="923" y="237"/>
                    </a:lnTo>
                    <a:lnTo>
                      <a:pt x="921" y="235"/>
                    </a:lnTo>
                    <a:lnTo>
                      <a:pt x="921" y="229"/>
                    </a:lnTo>
                    <a:lnTo>
                      <a:pt x="923" y="220"/>
                    </a:lnTo>
                    <a:lnTo>
                      <a:pt x="923" y="219"/>
                    </a:lnTo>
                    <a:lnTo>
                      <a:pt x="923" y="216"/>
                    </a:lnTo>
                    <a:lnTo>
                      <a:pt x="923" y="206"/>
                    </a:lnTo>
                    <a:lnTo>
                      <a:pt x="921" y="199"/>
                    </a:lnTo>
                    <a:lnTo>
                      <a:pt x="920" y="194"/>
                    </a:lnTo>
                    <a:lnTo>
                      <a:pt x="918" y="189"/>
                    </a:lnTo>
                    <a:lnTo>
                      <a:pt x="913" y="174"/>
                    </a:lnTo>
                    <a:lnTo>
                      <a:pt x="912" y="168"/>
                    </a:lnTo>
                    <a:lnTo>
                      <a:pt x="908" y="156"/>
                    </a:lnTo>
                    <a:lnTo>
                      <a:pt x="900" y="143"/>
                    </a:lnTo>
                    <a:lnTo>
                      <a:pt x="879" y="120"/>
                    </a:lnTo>
                    <a:lnTo>
                      <a:pt x="861" y="104"/>
                    </a:lnTo>
                    <a:lnTo>
                      <a:pt x="838" y="84"/>
                    </a:lnTo>
                    <a:lnTo>
                      <a:pt x="818" y="68"/>
                    </a:lnTo>
                    <a:lnTo>
                      <a:pt x="815" y="63"/>
                    </a:lnTo>
                    <a:lnTo>
                      <a:pt x="808" y="58"/>
                    </a:lnTo>
                    <a:lnTo>
                      <a:pt x="805" y="56"/>
                    </a:lnTo>
                    <a:lnTo>
                      <a:pt x="783" y="40"/>
                    </a:lnTo>
                    <a:lnTo>
                      <a:pt x="775" y="36"/>
                    </a:lnTo>
                    <a:lnTo>
                      <a:pt x="770" y="33"/>
                    </a:lnTo>
                    <a:lnTo>
                      <a:pt x="769" y="33"/>
                    </a:lnTo>
                    <a:lnTo>
                      <a:pt x="762" y="31"/>
                    </a:lnTo>
                    <a:lnTo>
                      <a:pt x="747" y="26"/>
                    </a:lnTo>
                    <a:lnTo>
                      <a:pt x="742" y="26"/>
                    </a:lnTo>
                    <a:lnTo>
                      <a:pt x="741" y="26"/>
                    </a:lnTo>
                    <a:lnTo>
                      <a:pt x="728" y="25"/>
                    </a:lnTo>
                    <a:lnTo>
                      <a:pt x="721" y="23"/>
                    </a:lnTo>
                    <a:lnTo>
                      <a:pt x="703" y="21"/>
                    </a:lnTo>
                    <a:lnTo>
                      <a:pt x="672" y="10"/>
                    </a:lnTo>
                    <a:lnTo>
                      <a:pt x="660" y="7"/>
                    </a:lnTo>
                    <a:lnTo>
                      <a:pt x="659" y="5"/>
                    </a:lnTo>
                    <a:lnTo>
                      <a:pt x="655" y="5"/>
                    </a:lnTo>
                    <a:lnTo>
                      <a:pt x="650" y="7"/>
                    </a:lnTo>
                    <a:lnTo>
                      <a:pt x="649" y="10"/>
                    </a:lnTo>
                    <a:lnTo>
                      <a:pt x="647" y="12"/>
                    </a:lnTo>
                    <a:lnTo>
                      <a:pt x="649" y="10"/>
                    </a:lnTo>
                    <a:lnTo>
                      <a:pt x="654" y="5"/>
                    </a:lnTo>
                    <a:lnTo>
                      <a:pt x="650" y="10"/>
                    </a:lnTo>
                    <a:lnTo>
                      <a:pt x="652" y="10"/>
                    </a:lnTo>
                    <a:lnTo>
                      <a:pt x="652" y="8"/>
                    </a:lnTo>
                    <a:lnTo>
                      <a:pt x="655" y="10"/>
                    </a:lnTo>
                    <a:lnTo>
                      <a:pt x="654" y="8"/>
                    </a:lnTo>
                    <a:lnTo>
                      <a:pt x="659" y="7"/>
                    </a:lnTo>
                    <a:lnTo>
                      <a:pt x="655" y="10"/>
                    </a:lnTo>
                    <a:lnTo>
                      <a:pt x="660" y="7"/>
                    </a:lnTo>
                    <a:lnTo>
                      <a:pt x="672" y="12"/>
                    </a:lnTo>
                    <a:lnTo>
                      <a:pt x="678" y="13"/>
                    </a:lnTo>
                    <a:lnTo>
                      <a:pt x="678" y="15"/>
                    </a:lnTo>
                    <a:lnTo>
                      <a:pt x="678" y="17"/>
                    </a:lnTo>
                    <a:lnTo>
                      <a:pt x="677" y="21"/>
                    </a:lnTo>
                    <a:lnTo>
                      <a:pt x="677" y="20"/>
                    </a:lnTo>
                    <a:lnTo>
                      <a:pt x="678" y="18"/>
                    </a:lnTo>
                    <a:lnTo>
                      <a:pt x="678" y="17"/>
                    </a:lnTo>
                    <a:lnTo>
                      <a:pt x="678" y="13"/>
                    </a:lnTo>
                    <a:lnTo>
                      <a:pt x="672" y="15"/>
                    </a:lnTo>
                    <a:lnTo>
                      <a:pt x="672" y="13"/>
                    </a:lnTo>
                    <a:lnTo>
                      <a:pt x="668" y="15"/>
                    </a:lnTo>
                    <a:lnTo>
                      <a:pt x="668" y="17"/>
                    </a:lnTo>
                    <a:lnTo>
                      <a:pt x="668" y="15"/>
                    </a:lnTo>
                    <a:lnTo>
                      <a:pt x="668" y="17"/>
                    </a:lnTo>
                    <a:lnTo>
                      <a:pt x="668" y="18"/>
                    </a:lnTo>
                    <a:lnTo>
                      <a:pt x="668" y="20"/>
                    </a:lnTo>
                    <a:lnTo>
                      <a:pt x="665" y="18"/>
                    </a:lnTo>
                    <a:lnTo>
                      <a:pt x="665" y="20"/>
                    </a:lnTo>
                    <a:lnTo>
                      <a:pt x="662" y="18"/>
                    </a:lnTo>
                    <a:lnTo>
                      <a:pt x="660" y="18"/>
                    </a:lnTo>
                    <a:lnTo>
                      <a:pt x="657" y="18"/>
                    </a:lnTo>
                    <a:lnTo>
                      <a:pt x="657" y="17"/>
                    </a:lnTo>
                    <a:lnTo>
                      <a:pt x="655" y="17"/>
                    </a:lnTo>
                    <a:lnTo>
                      <a:pt x="657" y="15"/>
                    </a:lnTo>
                    <a:lnTo>
                      <a:pt x="652" y="15"/>
                    </a:lnTo>
                    <a:lnTo>
                      <a:pt x="649" y="18"/>
                    </a:lnTo>
                    <a:lnTo>
                      <a:pt x="647" y="18"/>
                    </a:lnTo>
                    <a:lnTo>
                      <a:pt x="649" y="17"/>
                    </a:lnTo>
                    <a:lnTo>
                      <a:pt x="644" y="18"/>
                    </a:lnTo>
                    <a:lnTo>
                      <a:pt x="644" y="15"/>
                    </a:lnTo>
                    <a:lnTo>
                      <a:pt x="641" y="15"/>
                    </a:lnTo>
                    <a:lnTo>
                      <a:pt x="641" y="17"/>
                    </a:lnTo>
                    <a:lnTo>
                      <a:pt x="639" y="18"/>
                    </a:lnTo>
                    <a:lnTo>
                      <a:pt x="637" y="18"/>
                    </a:lnTo>
                    <a:lnTo>
                      <a:pt x="637" y="17"/>
                    </a:lnTo>
                    <a:lnTo>
                      <a:pt x="637" y="18"/>
                    </a:lnTo>
                    <a:lnTo>
                      <a:pt x="639" y="18"/>
                    </a:lnTo>
                    <a:lnTo>
                      <a:pt x="637" y="17"/>
                    </a:lnTo>
                    <a:lnTo>
                      <a:pt x="639" y="18"/>
                    </a:lnTo>
                    <a:lnTo>
                      <a:pt x="641" y="17"/>
                    </a:lnTo>
                    <a:lnTo>
                      <a:pt x="641" y="15"/>
                    </a:lnTo>
                    <a:lnTo>
                      <a:pt x="634" y="13"/>
                    </a:lnTo>
                    <a:lnTo>
                      <a:pt x="632" y="15"/>
                    </a:lnTo>
                    <a:lnTo>
                      <a:pt x="634" y="15"/>
                    </a:lnTo>
                    <a:lnTo>
                      <a:pt x="634" y="17"/>
                    </a:lnTo>
                    <a:lnTo>
                      <a:pt x="636" y="17"/>
                    </a:lnTo>
                    <a:lnTo>
                      <a:pt x="634" y="17"/>
                    </a:lnTo>
                    <a:lnTo>
                      <a:pt x="634" y="15"/>
                    </a:lnTo>
                    <a:lnTo>
                      <a:pt x="632" y="17"/>
                    </a:lnTo>
                    <a:lnTo>
                      <a:pt x="634" y="17"/>
                    </a:lnTo>
                    <a:lnTo>
                      <a:pt x="632" y="18"/>
                    </a:lnTo>
                    <a:lnTo>
                      <a:pt x="634" y="17"/>
                    </a:lnTo>
                    <a:lnTo>
                      <a:pt x="632" y="17"/>
                    </a:lnTo>
                    <a:lnTo>
                      <a:pt x="634" y="15"/>
                    </a:lnTo>
                    <a:lnTo>
                      <a:pt x="631" y="15"/>
                    </a:lnTo>
                    <a:lnTo>
                      <a:pt x="631" y="18"/>
                    </a:lnTo>
                    <a:lnTo>
                      <a:pt x="631" y="15"/>
                    </a:lnTo>
                    <a:lnTo>
                      <a:pt x="626" y="17"/>
                    </a:lnTo>
                    <a:lnTo>
                      <a:pt x="624" y="17"/>
                    </a:lnTo>
                    <a:lnTo>
                      <a:pt x="622" y="18"/>
                    </a:lnTo>
                    <a:lnTo>
                      <a:pt x="621" y="18"/>
                    </a:lnTo>
                    <a:lnTo>
                      <a:pt x="619" y="17"/>
                    </a:lnTo>
                    <a:lnTo>
                      <a:pt x="619" y="18"/>
                    </a:lnTo>
                    <a:lnTo>
                      <a:pt x="616" y="20"/>
                    </a:lnTo>
                    <a:lnTo>
                      <a:pt x="616" y="18"/>
                    </a:lnTo>
                    <a:lnTo>
                      <a:pt x="611" y="18"/>
                    </a:lnTo>
                    <a:lnTo>
                      <a:pt x="609" y="18"/>
                    </a:lnTo>
                    <a:lnTo>
                      <a:pt x="611" y="8"/>
                    </a:lnTo>
                    <a:lnTo>
                      <a:pt x="608" y="8"/>
                    </a:lnTo>
                    <a:lnTo>
                      <a:pt x="608" y="7"/>
                    </a:lnTo>
                    <a:lnTo>
                      <a:pt x="601" y="7"/>
                    </a:lnTo>
                    <a:lnTo>
                      <a:pt x="596" y="7"/>
                    </a:lnTo>
                    <a:lnTo>
                      <a:pt x="596" y="8"/>
                    </a:lnTo>
                    <a:lnTo>
                      <a:pt x="601" y="7"/>
                    </a:lnTo>
                    <a:lnTo>
                      <a:pt x="596" y="8"/>
                    </a:lnTo>
                    <a:lnTo>
                      <a:pt x="596" y="10"/>
                    </a:lnTo>
                    <a:lnTo>
                      <a:pt x="596" y="8"/>
                    </a:lnTo>
                    <a:lnTo>
                      <a:pt x="586" y="7"/>
                    </a:lnTo>
                    <a:lnTo>
                      <a:pt x="583" y="5"/>
                    </a:lnTo>
                    <a:lnTo>
                      <a:pt x="575" y="7"/>
                    </a:lnTo>
                    <a:lnTo>
                      <a:pt x="578" y="8"/>
                    </a:lnTo>
                    <a:lnTo>
                      <a:pt x="576" y="8"/>
                    </a:lnTo>
                    <a:lnTo>
                      <a:pt x="576" y="10"/>
                    </a:lnTo>
                    <a:lnTo>
                      <a:pt x="578" y="10"/>
                    </a:lnTo>
                    <a:lnTo>
                      <a:pt x="578" y="12"/>
                    </a:lnTo>
                    <a:lnTo>
                      <a:pt x="573" y="13"/>
                    </a:lnTo>
                    <a:lnTo>
                      <a:pt x="572" y="13"/>
                    </a:lnTo>
                    <a:lnTo>
                      <a:pt x="570" y="15"/>
                    </a:lnTo>
                    <a:lnTo>
                      <a:pt x="568" y="15"/>
                    </a:lnTo>
                    <a:lnTo>
                      <a:pt x="568" y="17"/>
                    </a:lnTo>
                    <a:lnTo>
                      <a:pt x="567" y="17"/>
                    </a:lnTo>
                    <a:lnTo>
                      <a:pt x="568" y="15"/>
                    </a:lnTo>
                    <a:lnTo>
                      <a:pt x="568" y="13"/>
                    </a:lnTo>
                    <a:lnTo>
                      <a:pt x="570" y="13"/>
                    </a:lnTo>
                    <a:lnTo>
                      <a:pt x="570" y="12"/>
                    </a:lnTo>
                    <a:lnTo>
                      <a:pt x="568" y="10"/>
                    </a:lnTo>
                    <a:lnTo>
                      <a:pt x="570" y="10"/>
                    </a:lnTo>
                    <a:lnTo>
                      <a:pt x="570" y="8"/>
                    </a:lnTo>
                    <a:lnTo>
                      <a:pt x="570" y="12"/>
                    </a:lnTo>
                    <a:lnTo>
                      <a:pt x="573" y="10"/>
                    </a:lnTo>
                    <a:lnTo>
                      <a:pt x="570" y="13"/>
                    </a:lnTo>
                    <a:lnTo>
                      <a:pt x="573" y="13"/>
                    </a:lnTo>
                    <a:lnTo>
                      <a:pt x="575" y="10"/>
                    </a:lnTo>
                    <a:lnTo>
                      <a:pt x="570" y="8"/>
                    </a:lnTo>
                    <a:lnTo>
                      <a:pt x="568" y="8"/>
                    </a:lnTo>
                    <a:lnTo>
                      <a:pt x="567" y="8"/>
                    </a:lnTo>
                    <a:lnTo>
                      <a:pt x="565" y="8"/>
                    </a:lnTo>
                    <a:lnTo>
                      <a:pt x="563" y="8"/>
                    </a:lnTo>
                    <a:lnTo>
                      <a:pt x="563" y="10"/>
                    </a:lnTo>
                    <a:lnTo>
                      <a:pt x="562" y="8"/>
                    </a:lnTo>
                    <a:lnTo>
                      <a:pt x="558" y="8"/>
                    </a:lnTo>
                    <a:lnTo>
                      <a:pt x="558" y="7"/>
                    </a:lnTo>
                    <a:lnTo>
                      <a:pt x="557" y="8"/>
                    </a:lnTo>
                    <a:lnTo>
                      <a:pt x="557" y="7"/>
                    </a:lnTo>
                    <a:lnTo>
                      <a:pt x="555" y="7"/>
                    </a:lnTo>
                    <a:lnTo>
                      <a:pt x="552" y="10"/>
                    </a:lnTo>
                    <a:lnTo>
                      <a:pt x="549" y="10"/>
                    </a:lnTo>
                    <a:lnTo>
                      <a:pt x="550" y="12"/>
                    </a:lnTo>
                    <a:lnTo>
                      <a:pt x="552" y="10"/>
                    </a:lnTo>
                    <a:lnTo>
                      <a:pt x="557" y="8"/>
                    </a:lnTo>
                    <a:lnTo>
                      <a:pt x="558" y="8"/>
                    </a:lnTo>
                    <a:lnTo>
                      <a:pt x="552" y="13"/>
                    </a:lnTo>
                    <a:lnTo>
                      <a:pt x="553" y="10"/>
                    </a:lnTo>
                    <a:lnTo>
                      <a:pt x="550" y="13"/>
                    </a:lnTo>
                    <a:lnTo>
                      <a:pt x="547" y="12"/>
                    </a:lnTo>
                    <a:lnTo>
                      <a:pt x="545" y="13"/>
                    </a:lnTo>
                    <a:lnTo>
                      <a:pt x="539" y="13"/>
                    </a:lnTo>
                    <a:lnTo>
                      <a:pt x="539" y="12"/>
                    </a:lnTo>
                    <a:lnTo>
                      <a:pt x="537" y="13"/>
                    </a:lnTo>
                    <a:lnTo>
                      <a:pt x="534" y="12"/>
                    </a:lnTo>
                    <a:lnTo>
                      <a:pt x="539" y="12"/>
                    </a:lnTo>
                    <a:lnTo>
                      <a:pt x="535" y="12"/>
                    </a:lnTo>
                    <a:lnTo>
                      <a:pt x="537" y="10"/>
                    </a:lnTo>
                    <a:lnTo>
                      <a:pt x="542" y="10"/>
                    </a:lnTo>
                    <a:lnTo>
                      <a:pt x="542" y="8"/>
                    </a:lnTo>
                    <a:lnTo>
                      <a:pt x="547" y="10"/>
                    </a:lnTo>
                    <a:lnTo>
                      <a:pt x="549" y="8"/>
                    </a:lnTo>
                    <a:lnTo>
                      <a:pt x="547" y="7"/>
                    </a:lnTo>
                    <a:lnTo>
                      <a:pt x="529" y="8"/>
                    </a:lnTo>
                    <a:lnTo>
                      <a:pt x="529" y="10"/>
                    </a:lnTo>
                    <a:lnTo>
                      <a:pt x="530" y="10"/>
                    </a:lnTo>
                    <a:lnTo>
                      <a:pt x="529" y="12"/>
                    </a:lnTo>
                    <a:lnTo>
                      <a:pt x="527" y="12"/>
                    </a:lnTo>
                    <a:lnTo>
                      <a:pt x="526" y="12"/>
                    </a:lnTo>
                    <a:lnTo>
                      <a:pt x="529" y="12"/>
                    </a:lnTo>
                    <a:lnTo>
                      <a:pt x="529" y="10"/>
                    </a:lnTo>
                    <a:lnTo>
                      <a:pt x="527" y="10"/>
                    </a:lnTo>
                    <a:lnTo>
                      <a:pt x="529" y="8"/>
                    </a:lnTo>
                    <a:lnTo>
                      <a:pt x="519" y="7"/>
                    </a:lnTo>
                    <a:lnTo>
                      <a:pt x="517" y="8"/>
                    </a:lnTo>
                    <a:lnTo>
                      <a:pt x="521" y="10"/>
                    </a:lnTo>
                    <a:lnTo>
                      <a:pt x="521" y="8"/>
                    </a:lnTo>
                    <a:lnTo>
                      <a:pt x="522" y="10"/>
                    </a:lnTo>
                    <a:lnTo>
                      <a:pt x="521" y="8"/>
                    </a:lnTo>
                    <a:lnTo>
                      <a:pt x="521" y="10"/>
                    </a:lnTo>
                    <a:lnTo>
                      <a:pt x="521" y="12"/>
                    </a:lnTo>
                    <a:lnTo>
                      <a:pt x="522" y="12"/>
                    </a:lnTo>
                    <a:lnTo>
                      <a:pt x="521" y="12"/>
                    </a:lnTo>
                    <a:lnTo>
                      <a:pt x="522" y="10"/>
                    </a:lnTo>
                    <a:lnTo>
                      <a:pt x="522" y="12"/>
                    </a:lnTo>
                    <a:lnTo>
                      <a:pt x="524" y="12"/>
                    </a:lnTo>
                    <a:lnTo>
                      <a:pt x="521" y="12"/>
                    </a:lnTo>
                    <a:lnTo>
                      <a:pt x="519" y="13"/>
                    </a:lnTo>
                    <a:lnTo>
                      <a:pt x="521" y="12"/>
                    </a:lnTo>
                    <a:lnTo>
                      <a:pt x="517" y="10"/>
                    </a:lnTo>
                    <a:lnTo>
                      <a:pt x="517" y="12"/>
                    </a:lnTo>
                    <a:lnTo>
                      <a:pt x="519" y="12"/>
                    </a:lnTo>
                    <a:lnTo>
                      <a:pt x="517" y="12"/>
                    </a:lnTo>
                    <a:lnTo>
                      <a:pt x="517" y="13"/>
                    </a:lnTo>
                    <a:lnTo>
                      <a:pt x="519" y="13"/>
                    </a:lnTo>
                    <a:lnTo>
                      <a:pt x="517" y="13"/>
                    </a:lnTo>
                    <a:lnTo>
                      <a:pt x="517" y="12"/>
                    </a:lnTo>
                    <a:lnTo>
                      <a:pt x="517" y="10"/>
                    </a:lnTo>
                    <a:lnTo>
                      <a:pt x="517" y="8"/>
                    </a:lnTo>
                    <a:lnTo>
                      <a:pt x="516" y="10"/>
                    </a:lnTo>
                    <a:lnTo>
                      <a:pt x="517" y="13"/>
                    </a:lnTo>
                    <a:lnTo>
                      <a:pt x="514" y="10"/>
                    </a:lnTo>
                    <a:lnTo>
                      <a:pt x="512" y="13"/>
                    </a:lnTo>
                    <a:lnTo>
                      <a:pt x="516" y="13"/>
                    </a:lnTo>
                    <a:lnTo>
                      <a:pt x="514" y="15"/>
                    </a:lnTo>
                    <a:lnTo>
                      <a:pt x="509" y="12"/>
                    </a:lnTo>
                    <a:lnTo>
                      <a:pt x="511" y="10"/>
                    </a:lnTo>
                    <a:lnTo>
                      <a:pt x="509" y="12"/>
                    </a:lnTo>
                    <a:lnTo>
                      <a:pt x="509" y="10"/>
                    </a:lnTo>
                    <a:lnTo>
                      <a:pt x="511" y="10"/>
                    </a:lnTo>
                    <a:lnTo>
                      <a:pt x="509" y="8"/>
                    </a:lnTo>
                    <a:lnTo>
                      <a:pt x="509" y="7"/>
                    </a:lnTo>
                    <a:lnTo>
                      <a:pt x="499" y="8"/>
                    </a:lnTo>
                    <a:lnTo>
                      <a:pt x="501" y="8"/>
                    </a:lnTo>
                    <a:lnTo>
                      <a:pt x="499" y="10"/>
                    </a:lnTo>
                    <a:lnTo>
                      <a:pt x="498" y="12"/>
                    </a:lnTo>
                    <a:lnTo>
                      <a:pt x="499" y="10"/>
                    </a:lnTo>
                    <a:lnTo>
                      <a:pt x="496" y="12"/>
                    </a:lnTo>
                    <a:lnTo>
                      <a:pt x="484" y="23"/>
                    </a:lnTo>
                    <a:lnTo>
                      <a:pt x="483" y="26"/>
                    </a:lnTo>
                    <a:lnTo>
                      <a:pt x="480" y="36"/>
                    </a:lnTo>
                    <a:lnTo>
                      <a:pt x="475" y="53"/>
                    </a:lnTo>
                    <a:lnTo>
                      <a:pt x="468" y="69"/>
                    </a:lnTo>
                    <a:lnTo>
                      <a:pt x="468" y="84"/>
                    </a:lnTo>
                    <a:lnTo>
                      <a:pt x="463" y="87"/>
                    </a:lnTo>
                    <a:lnTo>
                      <a:pt x="465" y="84"/>
                    </a:lnTo>
                    <a:lnTo>
                      <a:pt x="463" y="86"/>
                    </a:lnTo>
                    <a:lnTo>
                      <a:pt x="463" y="82"/>
                    </a:lnTo>
                    <a:lnTo>
                      <a:pt x="463" y="87"/>
                    </a:lnTo>
                    <a:lnTo>
                      <a:pt x="461" y="84"/>
                    </a:lnTo>
                    <a:lnTo>
                      <a:pt x="461" y="87"/>
                    </a:lnTo>
                    <a:lnTo>
                      <a:pt x="458" y="87"/>
                    </a:lnTo>
                    <a:lnTo>
                      <a:pt x="461" y="89"/>
                    </a:lnTo>
                    <a:lnTo>
                      <a:pt x="458" y="91"/>
                    </a:lnTo>
                    <a:lnTo>
                      <a:pt x="457" y="89"/>
                    </a:lnTo>
                    <a:lnTo>
                      <a:pt x="458" y="91"/>
                    </a:lnTo>
                    <a:lnTo>
                      <a:pt x="457" y="92"/>
                    </a:lnTo>
                    <a:lnTo>
                      <a:pt x="455" y="91"/>
                    </a:lnTo>
                    <a:lnTo>
                      <a:pt x="455" y="92"/>
                    </a:lnTo>
                    <a:lnTo>
                      <a:pt x="455" y="91"/>
                    </a:lnTo>
                    <a:lnTo>
                      <a:pt x="452" y="91"/>
                    </a:lnTo>
                    <a:lnTo>
                      <a:pt x="455" y="94"/>
                    </a:lnTo>
                    <a:lnTo>
                      <a:pt x="453" y="92"/>
                    </a:lnTo>
                    <a:lnTo>
                      <a:pt x="455" y="94"/>
                    </a:lnTo>
                    <a:lnTo>
                      <a:pt x="453" y="92"/>
                    </a:lnTo>
                    <a:lnTo>
                      <a:pt x="452" y="95"/>
                    </a:lnTo>
                    <a:lnTo>
                      <a:pt x="452" y="92"/>
                    </a:lnTo>
                    <a:lnTo>
                      <a:pt x="450" y="92"/>
                    </a:lnTo>
                    <a:lnTo>
                      <a:pt x="452" y="95"/>
                    </a:lnTo>
                    <a:lnTo>
                      <a:pt x="450" y="95"/>
                    </a:lnTo>
                    <a:lnTo>
                      <a:pt x="450" y="94"/>
                    </a:lnTo>
                    <a:lnTo>
                      <a:pt x="450" y="95"/>
                    </a:lnTo>
                    <a:lnTo>
                      <a:pt x="450" y="92"/>
                    </a:lnTo>
                    <a:lnTo>
                      <a:pt x="448" y="99"/>
                    </a:lnTo>
                    <a:lnTo>
                      <a:pt x="447" y="97"/>
                    </a:lnTo>
                    <a:lnTo>
                      <a:pt x="448" y="99"/>
                    </a:lnTo>
                    <a:lnTo>
                      <a:pt x="447" y="97"/>
                    </a:lnTo>
                    <a:lnTo>
                      <a:pt x="448" y="100"/>
                    </a:lnTo>
                    <a:lnTo>
                      <a:pt x="445" y="97"/>
                    </a:lnTo>
                    <a:lnTo>
                      <a:pt x="447" y="99"/>
                    </a:lnTo>
                    <a:lnTo>
                      <a:pt x="445" y="97"/>
                    </a:lnTo>
                    <a:lnTo>
                      <a:pt x="443" y="100"/>
                    </a:lnTo>
                    <a:lnTo>
                      <a:pt x="448" y="100"/>
                    </a:lnTo>
                    <a:lnTo>
                      <a:pt x="443" y="100"/>
                    </a:lnTo>
                    <a:lnTo>
                      <a:pt x="443" y="102"/>
                    </a:lnTo>
                    <a:lnTo>
                      <a:pt x="447" y="102"/>
                    </a:lnTo>
                    <a:lnTo>
                      <a:pt x="443" y="102"/>
                    </a:lnTo>
                    <a:lnTo>
                      <a:pt x="445" y="104"/>
                    </a:lnTo>
                    <a:lnTo>
                      <a:pt x="443" y="104"/>
                    </a:lnTo>
                    <a:lnTo>
                      <a:pt x="443" y="105"/>
                    </a:lnTo>
                    <a:lnTo>
                      <a:pt x="445" y="104"/>
                    </a:lnTo>
                    <a:lnTo>
                      <a:pt x="443" y="105"/>
                    </a:lnTo>
                    <a:lnTo>
                      <a:pt x="445" y="105"/>
                    </a:lnTo>
                    <a:lnTo>
                      <a:pt x="443" y="105"/>
                    </a:lnTo>
                    <a:lnTo>
                      <a:pt x="442" y="107"/>
                    </a:lnTo>
                    <a:lnTo>
                      <a:pt x="443" y="105"/>
                    </a:lnTo>
                    <a:lnTo>
                      <a:pt x="440" y="107"/>
                    </a:lnTo>
                    <a:lnTo>
                      <a:pt x="442" y="115"/>
                    </a:lnTo>
                    <a:lnTo>
                      <a:pt x="442" y="117"/>
                    </a:lnTo>
                    <a:lnTo>
                      <a:pt x="443" y="119"/>
                    </a:lnTo>
                    <a:lnTo>
                      <a:pt x="445" y="117"/>
                    </a:lnTo>
                    <a:lnTo>
                      <a:pt x="445" y="119"/>
                    </a:lnTo>
                    <a:lnTo>
                      <a:pt x="445" y="117"/>
                    </a:lnTo>
                    <a:lnTo>
                      <a:pt x="443" y="119"/>
                    </a:lnTo>
                    <a:lnTo>
                      <a:pt x="445" y="120"/>
                    </a:lnTo>
                    <a:lnTo>
                      <a:pt x="443" y="119"/>
                    </a:lnTo>
                    <a:lnTo>
                      <a:pt x="448" y="132"/>
                    </a:lnTo>
                    <a:lnTo>
                      <a:pt x="450" y="133"/>
                    </a:lnTo>
                    <a:lnTo>
                      <a:pt x="448" y="133"/>
                    </a:lnTo>
                    <a:lnTo>
                      <a:pt x="450" y="137"/>
                    </a:lnTo>
                    <a:lnTo>
                      <a:pt x="450" y="138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48" y="143"/>
                    </a:lnTo>
                    <a:lnTo>
                      <a:pt x="447" y="145"/>
                    </a:lnTo>
                    <a:lnTo>
                      <a:pt x="443" y="151"/>
                    </a:lnTo>
                    <a:lnTo>
                      <a:pt x="440" y="153"/>
                    </a:lnTo>
                    <a:lnTo>
                      <a:pt x="437" y="158"/>
                    </a:lnTo>
                    <a:lnTo>
                      <a:pt x="435" y="161"/>
                    </a:lnTo>
                    <a:lnTo>
                      <a:pt x="437" y="165"/>
                    </a:lnTo>
                    <a:lnTo>
                      <a:pt x="438" y="168"/>
                    </a:lnTo>
                    <a:lnTo>
                      <a:pt x="435" y="165"/>
                    </a:lnTo>
                    <a:lnTo>
                      <a:pt x="434" y="166"/>
                    </a:lnTo>
                    <a:lnTo>
                      <a:pt x="435" y="165"/>
                    </a:lnTo>
                    <a:lnTo>
                      <a:pt x="435" y="161"/>
                    </a:lnTo>
                    <a:lnTo>
                      <a:pt x="435" y="158"/>
                    </a:lnTo>
                    <a:lnTo>
                      <a:pt x="438" y="153"/>
                    </a:lnTo>
                    <a:lnTo>
                      <a:pt x="447" y="145"/>
                    </a:lnTo>
                    <a:lnTo>
                      <a:pt x="448" y="140"/>
                    </a:lnTo>
                    <a:lnTo>
                      <a:pt x="443" y="123"/>
                    </a:lnTo>
                    <a:lnTo>
                      <a:pt x="443" y="122"/>
                    </a:lnTo>
                    <a:lnTo>
                      <a:pt x="440" y="117"/>
                    </a:lnTo>
                    <a:lnTo>
                      <a:pt x="438" y="112"/>
                    </a:lnTo>
                    <a:lnTo>
                      <a:pt x="437" y="114"/>
                    </a:lnTo>
                    <a:lnTo>
                      <a:pt x="437" y="112"/>
                    </a:lnTo>
                    <a:lnTo>
                      <a:pt x="437" y="110"/>
                    </a:lnTo>
                    <a:lnTo>
                      <a:pt x="435" y="110"/>
                    </a:lnTo>
                    <a:lnTo>
                      <a:pt x="435" y="109"/>
                    </a:lnTo>
                    <a:lnTo>
                      <a:pt x="434" y="110"/>
                    </a:lnTo>
                    <a:lnTo>
                      <a:pt x="435" y="109"/>
                    </a:lnTo>
                    <a:lnTo>
                      <a:pt x="432" y="109"/>
                    </a:lnTo>
                    <a:lnTo>
                      <a:pt x="435" y="109"/>
                    </a:lnTo>
                    <a:lnTo>
                      <a:pt x="430" y="110"/>
                    </a:lnTo>
                    <a:lnTo>
                      <a:pt x="434" y="107"/>
                    </a:lnTo>
                    <a:lnTo>
                      <a:pt x="430" y="107"/>
                    </a:lnTo>
                    <a:lnTo>
                      <a:pt x="430" y="105"/>
                    </a:lnTo>
                    <a:lnTo>
                      <a:pt x="429" y="107"/>
                    </a:lnTo>
                    <a:lnTo>
                      <a:pt x="430" y="107"/>
                    </a:lnTo>
                    <a:lnTo>
                      <a:pt x="429" y="107"/>
                    </a:lnTo>
                    <a:lnTo>
                      <a:pt x="430" y="105"/>
                    </a:lnTo>
                    <a:lnTo>
                      <a:pt x="429" y="105"/>
                    </a:lnTo>
                    <a:lnTo>
                      <a:pt x="429" y="104"/>
                    </a:lnTo>
                    <a:lnTo>
                      <a:pt x="427" y="105"/>
                    </a:lnTo>
                    <a:lnTo>
                      <a:pt x="429" y="104"/>
                    </a:lnTo>
                    <a:lnTo>
                      <a:pt x="425" y="100"/>
                    </a:lnTo>
                    <a:lnTo>
                      <a:pt x="422" y="100"/>
                    </a:lnTo>
                    <a:lnTo>
                      <a:pt x="424" y="102"/>
                    </a:lnTo>
                    <a:lnTo>
                      <a:pt x="422" y="100"/>
                    </a:lnTo>
                    <a:lnTo>
                      <a:pt x="424" y="102"/>
                    </a:lnTo>
                    <a:lnTo>
                      <a:pt x="417" y="102"/>
                    </a:lnTo>
                    <a:lnTo>
                      <a:pt x="415" y="100"/>
                    </a:lnTo>
                    <a:lnTo>
                      <a:pt x="411" y="100"/>
                    </a:lnTo>
                    <a:lnTo>
                      <a:pt x="411" y="102"/>
                    </a:lnTo>
                    <a:lnTo>
                      <a:pt x="412" y="102"/>
                    </a:lnTo>
                    <a:lnTo>
                      <a:pt x="409" y="102"/>
                    </a:lnTo>
                    <a:lnTo>
                      <a:pt x="409" y="104"/>
                    </a:lnTo>
                    <a:lnTo>
                      <a:pt x="409" y="102"/>
                    </a:lnTo>
                    <a:lnTo>
                      <a:pt x="407" y="102"/>
                    </a:lnTo>
                    <a:lnTo>
                      <a:pt x="409" y="104"/>
                    </a:lnTo>
                    <a:lnTo>
                      <a:pt x="407" y="104"/>
                    </a:lnTo>
                    <a:lnTo>
                      <a:pt x="404" y="104"/>
                    </a:lnTo>
                    <a:lnTo>
                      <a:pt x="402" y="110"/>
                    </a:lnTo>
                    <a:lnTo>
                      <a:pt x="401" y="112"/>
                    </a:lnTo>
                    <a:lnTo>
                      <a:pt x="402" y="112"/>
                    </a:lnTo>
                    <a:lnTo>
                      <a:pt x="399" y="114"/>
                    </a:lnTo>
                    <a:lnTo>
                      <a:pt x="397" y="119"/>
                    </a:lnTo>
                    <a:lnTo>
                      <a:pt x="407" y="125"/>
                    </a:lnTo>
                    <a:lnTo>
                      <a:pt x="399" y="130"/>
                    </a:lnTo>
                    <a:lnTo>
                      <a:pt x="384" y="140"/>
                    </a:lnTo>
                    <a:lnTo>
                      <a:pt x="376" y="148"/>
                    </a:lnTo>
                    <a:lnTo>
                      <a:pt x="371" y="146"/>
                    </a:lnTo>
                    <a:lnTo>
                      <a:pt x="358" y="145"/>
                    </a:lnTo>
                    <a:lnTo>
                      <a:pt x="355" y="148"/>
                    </a:lnTo>
                    <a:lnTo>
                      <a:pt x="351" y="151"/>
                    </a:lnTo>
                    <a:lnTo>
                      <a:pt x="346" y="150"/>
                    </a:lnTo>
                    <a:lnTo>
                      <a:pt x="343" y="155"/>
                    </a:lnTo>
                    <a:lnTo>
                      <a:pt x="333" y="151"/>
                    </a:lnTo>
                    <a:lnTo>
                      <a:pt x="328" y="156"/>
                    </a:lnTo>
                    <a:lnTo>
                      <a:pt x="327" y="160"/>
                    </a:lnTo>
                    <a:lnTo>
                      <a:pt x="328" y="173"/>
                    </a:lnTo>
                    <a:lnTo>
                      <a:pt x="328" y="179"/>
                    </a:lnTo>
                    <a:lnTo>
                      <a:pt x="319" y="188"/>
                    </a:lnTo>
                    <a:lnTo>
                      <a:pt x="302" y="191"/>
                    </a:lnTo>
                    <a:lnTo>
                      <a:pt x="300" y="191"/>
                    </a:lnTo>
                    <a:lnTo>
                      <a:pt x="300" y="188"/>
                    </a:lnTo>
                    <a:lnTo>
                      <a:pt x="296" y="186"/>
                    </a:lnTo>
                    <a:lnTo>
                      <a:pt x="291" y="183"/>
                    </a:lnTo>
                    <a:lnTo>
                      <a:pt x="289" y="183"/>
                    </a:lnTo>
                    <a:lnTo>
                      <a:pt x="289" y="184"/>
                    </a:lnTo>
                    <a:lnTo>
                      <a:pt x="286" y="184"/>
                    </a:lnTo>
                    <a:lnTo>
                      <a:pt x="281" y="188"/>
                    </a:lnTo>
                    <a:lnTo>
                      <a:pt x="276" y="184"/>
                    </a:lnTo>
                    <a:lnTo>
                      <a:pt x="266" y="191"/>
                    </a:lnTo>
                    <a:lnTo>
                      <a:pt x="263" y="196"/>
                    </a:lnTo>
                    <a:lnTo>
                      <a:pt x="253" y="192"/>
                    </a:lnTo>
                    <a:lnTo>
                      <a:pt x="248" y="191"/>
                    </a:lnTo>
                    <a:lnTo>
                      <a:pt x="243" y="196"/>
                    </a:lnTo>
                    <a:lnTo>
                      <a:pt x="240" y="186"/>
                    </a:lnTo>
                    <a:lnTo>
                      <a:pt x="236" y="188"/>
                    </a:lnTo>
                    <a:lnTo>
                      <a:pt x="233" y="188"/>
                    </a:lnTo>
                    <a:lnTo>
                      <a:pt x="220" y="196"/>
                    </a:lnTo>
                    <a:lnTo>
                      <a:pt x="210" y="186"/>
                    </a:lnTo>
                    <a:lnTo>
                      <a:pt x="208" y="186"/>
                    </a:lnTo>
                    <a:lnTo>
                      <a:pt x="202" y="183"/>
                    </a:lnTo>
                    <a:lnTo>
                      <a:pt x="200" y="183"/>
                    </a:lnTo>
                    <a:lnTo>
                      <a:pt x="197" y="183"/>
                    </a:lnTo>
                    <a:lnTo>
                      <a:pt x="194" y="183"/>
                    </a:lnTo>
                    <a:lnTo>
                      <a:pt x="192" y="188"/>
                    </a:lnTo>
                    <a:lnTo>
                      <a:pt x="185" y="191"/>
                    </a:lnTo>
                    <a:lnTo>
                      <a:pt x="184" y="191"/>
                    </a:lnTo>
                    <a:lnTo>
                      <a:pt x="172" y="196"/>
                    </a:lnTo>
                    <a:lnTo>
                      <a:pt x="169" y="197"/>
                    </a:lnTo>
                    <a:lnTo>
                      <a:pt x="162" y="197"/>
                    </a:lnTo>
                    <a:lnTo>
                      <a:pt x="153" y="194"/>
                    </a:lnTo>
                    <a:lnTo>
                      <a:pt x="153" y="197"/>
                    </a:lnTo>
                    <a:lnTo>
                      <a:pt x="149" y="197"/>
                    </a:lnTo>
                    <a:lnTo>
                      <a:pt x="144" y="197"/>
                    </a:lnTo>
                    <a:lnTo>
                      <a:pt x="144" y="199"/>
                    </a:lnTo>
                    <a:lnTo>
                      <a:pt x="141" y="199"/>
                    </a:lnTo>
                    <a:lnTo>
                      <a:pt x="138" y="202"/>
                    </a:lnTo>
                    <a:lnTo>
                      <a:pt x="131" y="201"/>
                    </a:lnTo>
                    <a:lnTo>
                      <a:pt x="128" y="202"/>
                    </a:lnTo>
                    <a:lnTo>
                      <a:pt x="128" y="206"/>
                    </a:lnTo>
                    <a:lnTo>
                      <a:pt x="125" y="207"/>
                    </a:lnTo>
                    <a:lnTo>
                      <a:pt x="121" y="212"/>
                    </a:lnTo>
                    <a:lnTo>
                      <a:pt x="121" y="216"/>
                    </a:lnTo>
                    <a:lnTo>
                      <a:pt x="118" y="219"/>
                    </a:lnTo>
                    <a:lnTo>
                      <a:pt x="120" y="222"/>
                    </a:lnTo>
                    <a:lnTo>
                      <a:pt x="118" y="225"/>
                    </a:lnTo>
                    <a:lnTo>
                      <a:pt x="121" y="229"/>
                    </a:lnTo>
                    <a:lnTo>
                      <a:pt x="120" y="230"/>
                    </a:lnTo>
                    <a:lnTo>
                      <a:pt x="115" y="229"/>
                    </a:lnTo>
                    <a:lnTo>
                      <a:pt x="115" y="234"/>
                    </a:lnTo>
                    <a:lnTo>
                      <a:pt x="110" y="234"/>
                    </a:lnTo>
                    <a:lnTo>
                      <a:pt x="108" y="234"/>
                    </a:lnTo>
                    <a:lnTo>
                      <a:pt x="107" y="229"/>
                    </a:lnTo>
                    <a:lnTo>
                      <a:pt x="105" y="234"/>
                    </a:lnTo>
                    <a:lnTo>
                      <a:pt x="100" y="232"/>
                    </a:lnTo>
                    <a:lnTo>
                      <a:pt x="92" y="239"/>
                    </a:lnTo>
                    <a:lnTo>
                      <a:pt x="87" y="242"/>
                    </a:lnTo>
                    <a:lnTo>
                      <a:pt x="85" y="242"/>
                    </a:lnTo>
                    <a:lnTo>
                      <a:pt x="79" y="243"/>
                    </a:lnTo>
                    <a:lnTo>
                      <a:pt x="75" y="247"/>
                    </a:lnTo>
                    <a:lnTo>
                      <a:pt x="74" y="250"/>
                    </a:lnTo>
                    <a:lnTo>
                      <a:pt x="77" y="253"/>
                    </a:lnTo>
                    <a:lnTo>
                      <a:pt x="77" y="258"/>
                    </a:lnTo>
                    <a:lnTo>
                      <a:pt x="79" y="258"/>
                    </a:lnTo>
                    <a:lnTo>
                      <a:pt x="87" y="265"/>
                    </a:lnTo>
                    <a:lnTo>
                      <a:pt x="87" y="266"/>
                    </a:lnTo>
                    <a:lnTo>
                      <a:pt x="89" y="270"/>
                    </a:lnTo>
                    <a:lnTo>
                      <a:pt x="84" y="273"/>
                    </a:lnTo>
                    <a:lnTo>
                      <a:pt x="79" y="273"/>
                    </a:lnTo>
                    <a:lnTo>
                      <a:pt x="75" y="276"/>
                    </a:lnTo>
                    <a:lnTo>
                      <a:pt x="75" y="280"/>
                    </a:lnTo>
                    <a:lnTo>
                      <a:pt x="79" y="280"/>
                    </a:lnTo>
                    <a:lnTo>
                      <a:pt x="84" y="276"/>
                    </a:lnTo>
                    <a:lnTo>
                      <a:pt x="89" y="275"/>
                    </a:lnTo>
                    <a:lnTo>
                      <a:pt x="90" y="276"/>
                    </a:lnTo>
                    <a:lnTo>
                      <a:pt x="98" y="275"/>
                    </a:lnTo>
                    <a:lnTo>
                      <a:pt x="102" y="276"/>
                    </a:lnTo>
                    <a:lnTo>
                      <a:pt x="97" y="278"/>
                    </a:lnTo>
                    <a:lnTo>
                      <a:pt x="102" y="285"/>
                    </a:lnTo>
                    <a:lnTo>
                      <a:pt x="108" y="283"/>
                    </a:lnTo>
                    <a:lnTo>
                      <a:pt x="113" y="278"/>
                    </a:lnTo>
                    <a:lnTo>
                      <a:pt x="120" y="276"/>
                    </a:lnTo>
                    <a:lnTo>
                      <a:pt x="123" y="280"/>
                    </a:lnTo>
                    <a:lnTo>
                      <a:pt x="128" y="286"/>
                    </a:lnTo>
                    <a:lnTo>
                      <a:pt x="131" y="285"/>
                    </a:lnTo>
                    <a:lnTo>
                      <a:pt x="136" y="286"/>
                    </a:lnTo>
                    <a:lnTo>
                      <a:pt x="136" y="290"/>
                    </a:lnTo>
                    <a:lnTo>
                      <a:pt x="131" y="291"/>
                    </a:lnTo>
                    <a:lnTo>
                      <a:pt x="130" y="294"/>
                    </a:lnTo>
                    <a:lnTo>
                      <a:pt x="128" y="296"/>
                    </a:lnTo>
                    <a:lnTo>
                      <a:pt x="126" y="294"/>
                    </a:lnTo>
                    <a:lnTo>
                      <a:pt x="128" y="296"/>
                    </a:lnTo>
                    <a:lnTo>
                      <a:pt x="131" y="294"/>
                    </a:lnTo>
                    <a:lnTo>
                      <a:pt x="130" y="299"/>
                    </a:lnTo>
                    <a:lnTo>
                      <a:pt x="131" y="299"/>
                    </a:lnTo>
                    <a:lnTo>
                      <a:pt x="133" y="298"/>
                    </a:lnTo>
                    <a:lnTo>
                      <a:pt x="136" y="301"/>
                    </a:lnTo>
                    <a:lnTo>
                      <a:pt x="143" y="299"/>
                    </a:lnTo>
                    <a:lnTo>
                      <a:pt x="146" y="304"/>
                    </a:lnTo>
                    <a:lnTo>
                      <a:pt x="144" y="309"/>
                    </a:lnTo>
                    <a:lnTo>
                      <a:pt x="138" y="317"/>
                    </a:lnTo>
                    <a:lnTo>
                      <a:pt x="135" y="321"/>
                    </a:lnTo>
                    <a:lnTo>
                      <a:pt x="131" y="319"/>
                    </a:lnTo>
                    <a:lnTo>
                      <a:pt x="130" y="321"/>
                    </a:lnTo>
                    <a:lnTo>
                      <a:pt x="130" y="324"/>
                    </a:lnTo>
                    <a:lnTo>
                      <a:pt x="136" y="326"/>
                    </a:lnTo>
                    <a:lnTo>
                      <a:pt x="136" y="329"/>
                    </a:lnTo>
                    <a:lnTo>
                      <a:pt x="128" y="332"/>
                    </a:lnTo>
                    <a:lnTo>
                      <a:pt x="125" y="336"/>
                    </a:lnTo>
                    <a:lnTo>
                      <a:pt x="130" y="337"/>
                    </a:lnTo>
                    <a:lnTo>
                      <a:pt x="128" y="342"/>
                    </a:lnTo>
                    <a:lnTo>
                      <a:pt x="133" y="344"/>
                    </a:lnTo>
                    <a:lnTo>
                      <a:pt x="136" y="344"/>
                    </a:lnTo>
                    <a:lnTo>
                      <a:pt x="138" y="345"/>
                    </a:lnTo>
                    <a:lnTo>
                      <a:pt x="138" y="349"/>
                    </a:lnTo>
                    <a:lnTo>
                      <a:pt x="135" y="350"/>
                    </a:lnTo>
                    <a:lnTo>
                      <a:pt x="138" y="354"/>
                    </a:lnTo>
                    <a:lnTo>
                      <a:pt x="139" y="357"/>
                    </a:lnTo>
                    <a:lnTo>
                      <a:pt x="136" y="360"/>
                    </a:lnTo>
                    <a:lnTo>
                      <a:pt x="136" y="362"/>
                    </a:lnTo>
                    <a:lnTo>
                      <a:pt x="136" y="363"/>
                    </a:lnTo>
                    <a:lnTo>
                      <a:pt x="144" y="370"/>
                    </a:lnTo>
                    <a:lnTo>
                      <a:pt x="141" y="375"/>
                    </a:lnTo>
                    <a:lnTo>
                      <a:pt x="148" y="377"/>
                    </a:lnTo>
                    <a:lnTo>
                      <a:pt x="148" y="385"/>
                    </a:lnTo>
                    <a:lnTo>
                      <a:pt x="144" y="388"/>
                    </a:lnTo>
                    <a:lnTo>
                      <a:pt x="141" y="387"/>
                    </a:lnTo>
                    <a:lnTo>
                      <a:pt x="130" y="390"/>
                    </a:lnTo>
                    <a:lnTo>
                      <a:pt x="131" y="390"/>
                    </a:lnTo>
                    <a:lnTo>
                      <a:pt x="130" y="391"/>
                    </a:lnTo>
                    <a:lnTo>
                      <a:pt x="121" y="405"/>
                    </a:lnTo>
                    <a:lnTo>
                      <a:pt x="125" y="416"/>
                    </a:lnTo>
                    <a:lnTo>
                      <a:pt x="121" y="418"/>
                    </a:lnTo>
                    <a:lnTo>
                      <a:pt x="121" y="424"/>
                    </a:lnTo>
                    <a:lnTo>
                      <a:pt x="116" y="423"/>
                    </a:lnTo>
                    <a:lnTo>
                      <a:pt x="113" y="426"/>
                    </a:lnTo>
                    <a:lnTo>
                      <a:pt x="105" y="416"/>
                    </a:lnTo>
                    <a:lnTo>
                      <a:pt x="105" y="414"/>
                    </a:lnTo>
                    <a:lnTo>
                      <a:pt x="103" y="413"/>
                    </a:lnTo>
                    <a:lnTo>
                      <a:pt x="100" y="411"/>
                    </a:lnTo>
                    <a:lnTo>
                      <a:pt x="98" y="411"/>
                    </a:lnTo>
                    <a:lnTo>
                      <a:pt x="97" y="411"/>
                    </a:lnTo>
                    <a:lnTo>
                      <a:pt x="93" y="413"/>
                    </a:lnTo>
                    <a:lnTo>
                      <a:pt x="90" y="416"/>
                    </a:lnTo>
                    <a:lnTo>
                      <a:pt x="87" y="414"/>
                    </a:lnTo>
                    <a:lnTo>
                      <a:pt x="82" y="418"/>
                    </a:lnTo>
                    <a:lnTo>
                      <a:pt x="84" y="424"/>
                    </a:lnTo>
                    <a:lnTo>
                      <a:pt x="85" y="437"/>
                    </a:lnTo>
                    <a:lnTo>
                      <a:pt x="87" y="441"/>
                    </a:lnTo>
                    <a:lnTo>
                      <a:pt x="79" y="452"/>
                    </a:lnTo>
                    <a:lnTo>
                      <a:pt x="77" y="459"/>
                    </a:lnTo>
                    <a:lnTo>
                      <a:pt x="70" y="459"/>
                    </a:lnTo>
                    <a:lnTo>
                      <a:pt x="64" y="461"/>
                    </a:lnTo>
                    <a:lnTo>
                      <a:pt x="61" y="464"/>
                    </a:lnTo>
                    <a:lnTo>
                      <a:pt x="52" y="472"/>
                    </a:lnTo>
                    <a:lnTo>
                      <a:pt x="47" y="475"/>
                    </a:lnTo>
                    <a:lnTo>
                      <a:pt x="46" y="475"/>
                    </a:lnTo>
                    <a:lnTo>
                      <a:pt x="44" y="477"/>
                    </a:lnTo>
                    <a:lnTo>
                      <a:pt x="43" y="472"/>
                    </a:lnTo>
                    <a:lnTo>
                      <a:pt x="41" y="474"/>
                    </a:lnTo>
                    <a:lnTo>
                      <a:pt x="36" y="475"/>
                    </a:lnTo>
                    <a:lnTo>
                      <a:pt x="38" y="477"/>
                    </a:lnTo>
                    <a:lnTo>
                      <a:pt x="33" y="484"/>
                    </a:lnTo>
                    <a:lnTo>
                      <a:pt x="29" y="480"/>
                    </a:lnTo>
                    <a:lnTo>
                      <a:pt x="28" y="480"/>
                    </a:lnTo>
                    <a:lnTo>
                      <a:pt x="28" y="485"/>
                    </a:lnTo>
                    <a:lnTo>
                      <a:pt x="26" y="488"/>
                    </a:lnTo>
                    <a:lnTo>
                      <a:pt x="20" y="488"/>
                    </a:lnTo>
                    <a:lnTo>
                      <a:pt x="21" y="495"/>
                    </a:lnTo>
                    <a:lnTo>
                      <a:pt x="20" y="495"/>
                    </a:lnTo>
                    <a:lnTo>
                      <a:pt x="6" y="497"/>
                    </a:lnTo>
                    <a:lnTo>
                      <a:pt x="3" y="498"/>
                    </a:lnTo>
                    <a:lnTo>
                      <a:pt x="3" y="502"/>
                    </a:lnTo>
                    <a:lnTo>
                      <a:pt x="0" y="505"/>
                    </a:lnTo>
                    <a:lnTo>
                      <a:pt x="5" y="507"/>
                    </a:lnTo>
                    <a:lnTo>
                      <a:pt x="8" y="511"/>
                    </a:lnTo>
                    <a:lnTo>
                      <a:pt x="6" y="513"/>
                    </a:lnTo>
                    <a:lnTo>
                      <a:pt x="10" y="515"/>
                    </a:lnTo>
                    <a:lnTo>
                      <a:pt x="11" y="518"/>
                    </a:lnTo>
                    <a:lnTo>
                      <a:pt x="15" y="518"/>
                    </a:lnTo>
                    <a:lnTo>
                      <a:pt x="20" y="530"/>
                    </a:lnTo>
                    <a:lnTo>
                      <a:pt x="16" y="534"/>
                    </a:lnTo>
                    <a:lnTo>
                      <a:pt x="11" y="534"/>
                    </a:lnTo>
                    <a:lnTo>
                      <a:pt x="10" y="534"/>
                    </a:lnTo>
                    <a:lnTo>
                      <a:pt x="10" y="539"/>
                    </a:lnTo>
                    <a:lnTo>
                      <a:pt x="11" y="539"/>
                    </a:lnTo>
                    <a:lnTo>
                      <a:pt x="13" y="541"/>
                    </a:lnTo>
                    <a:lnTo>
                      <a:pt x="10" y="544"/>
                    </a:lnTo>
                    <a:lnTo>
                      <a:pt x="8" y="544"/>
                    </a:lnTo>
                    <a:lnTo>
                      <a:pt x="6" y="546"/>
                    </a:lnTo>
                    <a:lnTo>
                      <a:pt x="6" y="548"/>
                    </a:lnTo>
                    <a:lnTo>
                      <a:pt x="15" y="558"/>
                    </a:lnTo>
                    <a:lnTo>
                      <a:pt x="18" y="559"/>
                    </a:lnTo>
                    <a:lnTo>
                      <a:pt x="24" y="564"/>
                    </a:lnTo>
                    <a:lnTo>
                      <a:pt x="24" y="566"/>
                    </a:lnTo>
                    <a:lnTo>
                      <a:pt x="24" y="567"/>
                    </a:lnTo>
                    <a:lnTo>
                      <a:pt x="26" y="567"/>
                    </a:lnTo>
                    <a:lnTo>
                      <a:pt x="28" y="569"/>
                    </a:lnTo>
                    <a:lnTo>
                      <a:pt x="28" y="574"/>
                    </a:lnTo>
                    <a:lnTo>
                      <a:pt x="29" y="579"/>
                    </a:lnTo>
                    <a:lnTo>
                      <a:pt x="23" y="585"/>
                    </a:lnTo>
                    <a:lnTo>
                      <a:pt x="24" y="589"/>
                    </a:lnTo>
                    <a:lnTo>
                      <a:pt x="18" y="595"/>
                    </a:lnTo>
                    <a:lnTo>
                      <a:pt x="20" y="595"/>
                    </a:lnTo>
                    <a:lnTo>
                      <a:pt x="20" y="600"/>
                    </a:lnTo>
                    <a:lnTo>
                      <a:pt x="23" y="604"/>
                    </a:lnTo>
                    <a:lnTo>
                      <a:pt x="26" y="610"/>
                    </a:lnTo>
                    <a:lnTo>
                      <a:pt x="31" y="610"/>
                    </a:lnTo>
                    <a:lnTo>
                      <a:pt x="33" y="610"/>
                    </a:lnTo>
                    <a:lnTo>
                      <a:pt x="29" y="604"/>
                    </a:lnTo>
                    <a:lnTo>
                      <a:pt x="31" y="602"/>
                    </a:lnTo>
                    <a:lnTo>
                      <a:pt x="31" y="599"/>
                    </a:lnTo>
                    <a:lnTo>
                      <a:pt x="36" y="604"/>
                    </a:lnTo>
                    <a:lnTo>
                      <a:pt x="44" y="602"/>
                    </a:lnTo>
                    <a:lnTo>
                      <a:pt x="47" y="604"/>
                    </a:lnTo>
                    <a:lnTo>
                      <a:pt x="46" y="605"/>
                    </a:lnTo>
                    <a:lnTo>
                      <a:pt x="54" y="615"/>
                    </a:lnTo>
                    <a:lnTo>
                      <a:pt x="66" y="622"/>
                    </a:lnTo>
                    <a:lnTo>
                      <a:pt x="67" y="625"/>
                    </a:lnTo>
                    <a:lnTo>
                      <a:pt x="69" y="627"/>
                    </a:lnTo>
                    <a:lnTo>
                      <a:pt x="75" y="627"/>
                    </a:lnTo>
                    <a:lnTo>
                      <a:pt x="80" y="630"/>
                    </a:lnTo>
                    <a:lnTo>
                      <a:pt x="82" y="635"/>
                    </a:lnTo>
                    <a:lnTo>
                      <a:pt x="87" y="638"/>
                    </a:lnTo>
                    <a:lnTo>
                      <a:pt x="90" y="638"/>
                    </a:lnTo>
                    <a:lnTo>
                      <a:pt x="93" y="636"/>
                    </a:lnTo>
                    <a:lnTo>
                      <a:pt x="98" y="641"/>
                    </a:lnTo>
                    <a:lnTo>
                      <a:pt x="105" y="643"/>
                    </a:lnTo>
                    <a:lnTo>
                      <a:pt x="107" y="646"/>
                    </a:lnTo>
                    <a:lnTo>
                      <a:pt x="112" y="651"/>
                    </a:lnTo>
                    <a:lnTo>
                      <a:pt x="112" y="655"/>
                    </a:lnTo>
                    <a:lnTo>
                      <a:pt x="113" y="655"/>
                    </a:lnTo>
                    <a:lnTo>
                      <a:pt x="113" y="656"/>
                    </a:lnTo>
                    <a:lnTo>
                      <a:pt x="113" y="658"/>
                    </a:lnTo>
                    <a:lnTo>
                      <a:pt x="123" y="666"/>
                    </a:lnTo>
                    <a:lnTo>
                      <a:pt x="121" y="671"/>
                    </a:lnTo>
                    <a:lnTo>
                      <a:pt x="118" y="668"/>
                    </a:lnTo>
                    <a:lnTo>
                      <a:pt x="116" y="669"/>
                    </a:lnTo>
                    <a:lnTo>
                      <a:pt x="116" y="666"/>
                    </a:lnTo>
                    <a:lnTo>
                      <a:pt x="115" y="668"/>
                    </a:lnTo>
                    <a:lnTo>
                      <a:pt x="115" y="671"/>
                    </a:lnTo>
                    <a:lnTo>
                      <a:pt x="115" y="669"/>
                    </a:lnTo>
                    <a:lnTo>
                      <a:pt x="112" y="673"/>
                    </a:lnTo>
                    <a:lnTo>
                      <a:pt x="110" y="673"/>
                    </a:lnTo>
                    <a:lnTo>
                      <a:pt x="108" y="678"/>
                    </a:lnTo>
                    <a:lnTo>
                      <a:pt x="107" y="681"/>
                    </a:lnTo>
                    <a:lnTo>
                      <a:pt x="103" y="679"/>
                    </a:lnTo>
                    <a:lnTo>
                      <a:pt x="103" y="676"/>
                    </a:lnTo>
                    <a:lnTo>
                      <a:pt x="97" y="678"/>
                    </a:lnTo>
                    <a:lnTo>
                      <a:pt x="89" y="673"/>
                    </a:lnTo>
                    <a:lnTo>
                      <a:pt x="89" y="674"/>
                    </a:lnTo>
                    <a:lnTo>
                      <a:pt x="84" y="676"/>
                    </a:lnTo>
                    <a:lnTo>
                      <a:pt x="80" y="676"/>
                    </a:lnTo>
                    <a:lnTo>
                      <a:pt x="77" y="676"/>
                    </a:lnTo>
                    <a:lnTo>
                      <a:pt x="75" y="673"/>
                    </a:lnTo>
                    <a:lnTo>
                      <a:pt x="69" y="661"/>
                    </a:lnTo>
                    <a:lnTo>
                      <a:pt x="67" y="661"/>
                    </a:lnTo>
                    <a:lnTo>
                      <a:pt x="70" y="656"/>
                    </a:lnTo>
                    <a:lnTo>
                      <a:pt x="67" y="651"/>
                    </a:lnTo>
                    <a:lnTo>
                      <a:pt x="64" y="653"/>
                    </a:lnTo>
                    <a:lnTo>
                      <a:pt x="62" y="651"/>
                    </a:lnTo>
                    <a:lnTo>
                      <a:pt x="59" y="651"/>
                    </a:lnTo>
                    <a:lnTo>
                      <a:pt x="57" y="656"/>
                    </a:lnTo>
                    <a:lnTo>
                      <a:pt x="54" y="656"/>
                    </a:lnTo>
                    <a:lnTo>
                      <a:pt x="52" y="659"/>
                    </a:lnTo>
                    <a:lnTo>
                      <a:pt x="49" y="661"/>
                    </a:lnTo>
                    <a:lnTo>
                      <a:pt x="52" y="664"/>
                    </a:lnTo>
                    <a:lnTo>
                      <a:pt x="52" y="666"/>
                    </a:lnTo>
                    <a:lnTo>
                      <a:pt x="59" y="674"/>
                    </a:lnTo>
                    <a:lnTo>
                      <a:pt x="62" y="673"/>
                    </a:lnTo>
                    <a:lnTo>
                      <a:pt x="64" y="674"/>
                    </a:lnTo>
                    <a:lnTo>
                      <a:pt x="70" y="684"/>
                    </a:lnTo>
                    <a:lnTo>
                      <a:pt x="72" y="687"/>
                    </a:lnTo>
                    <a:lnTo>
                      <a:pt x="69" y="689"/>
                    </a:lnTo>
                    <a:lnTo>
                      <a:pt x="72" y="691"/>
                    </a:lnTo>
                    <a:lnTo>
                      <a:pt x="74" y="697"/>
                    </a:lnTo>
                    <a:lnTo>
                      <a:pt x="74" y="701"/>
                    </a:lnTo>
                    <a:lnTo>
                      <a:pt x="75" y="702"/>
                    </a:lnTo>
                    <a:lnTo>
                      <a:pt x="85" y="710"/>
                    </a:lnTo>
                    <a:lnTo>
                      <a:pt x="90" y="710"/>
                    </a:lnTo>
                    <a:lnTo>
                      <a:pt x="95" y="712"/>
                    </a:lnTo>
                    <a:lnTo>
                      <a:pt x="97" y="712"/>
                    </a:lnTo>
                    <a:lnTo>
                      <a:pt x="97" y="714"/>
                    </a:lnTo>
                    <a:lnTo>
                      <a:pt x="105" y="712"/>
                    </a:lnTo>
                    <a:lnTo>
                      <a:pt x="107" y="715"/>
                    </a:lnTo>
                    <a:lnTo>
                      <a:pt x="110" y="720"/>
                    </a:lnTo>
                    <a:lnTo>
                      <a:pt x="113" y="719"/>
                    </a:lnTo>
                    <a:lnTo>
                      <a:pt x="113" y="720"/>
                    </a:lnTo>
                    <a:lnTo>
                      <a:pt x="115" y="720"/>
                    </a:lnTo>
                    <a:lnTo>
                      <a:pt x="115" y="722"/>
                    </a:lnTo>
                    <a:lnTo>
                      <a:pt x="116" y="722"/>
                    </a:lnTo>
                    <a:lnTo>
                      <a:pt x="118" y="724"/>
                    </a:lnTo>
                    <a:lnTo>
                      <a:pt x="116" y="725"/>
                    </a:lnTo>
                    <a:lnTo>
                      <a:pt x="118" y="729"/>
                    </a:lnTo>
                    <a:lnTo>
                      <a:pt x="115" y="730"/>
                    </a:lnTo>
                    <a:lnTo>
                      <a:pt x="113" y="735"/>
                    </a:lnTo>
                    <a:lnTo>
                      <a:pt x="120" y="740"/>
                    </a:lnTo>
                    <a:lnTo>
                      <a:pt x="120" y="743"/>
                    </a:lnTo>
                    <a:lnTo>
                      <a:pt x="118" y="752"/>
                    </a:lnTo>
                    <a:lnTo>
                      <a:pt x="123" y="753"/>
                    </a:lnTo>
                    <a:lnTo>
                      <a:pt x="128" y="752"/>
                    </a:lnTo>
                    <a:lnTo>
                      <a:pt x="128" y="753"/>
                    </a:lnTo>
                    <a:lnTo>
                      <a:pt x="131" y="753"/>
                    </a:lnTo>
                    <a:lnTo>
                      <a:pt x="135" y="756"/>
                    </a:lnTo>
                    <a:lnTo>
                      <a:pt x="131" y="761"/>
                    </a:lnTo>
                    <a:lnTo>
                      <a:pt x="128" y="760"/>
                    </a:lnTo>
                    <a:lnTo>
                      <a:pt x="128" y="765"/>
                    </a:lnTo>
                    <a:lnTo>
                      <a:pt x="125" y="761"/>
                    </a:lnTo>
                    <a:lnTo>
                      <a:pt x="123" y="763"/>
                    </a:lnTo>
                    <a:lnTo>
                      <a:pt x="123" y="768"/>
                    </a:lnTo>
                    <a:lnTo>
                      <a:pt x="125" y="770"/>
                    </a:lnTo>
                    <a:lnTo>
                      <a:pt x="125" y="771"/>
                    </a:lnTo>
                    <a:lnTo>
                      <a:pt x="123" y="773"/>
                    </a:lnTo>
                    <a:lnTo>
                      <a:pt x="121" y="776"/>
                    </a:lnTo>
                    <a:lnTo>
                      <a:pt x="125" y="776"/>
                    </a:lnTo>
                    <a:lnTo>
                      <a:pt x="123" y="781"/>
                    </a:lnTo>
                    <a:lnTo>
                      <a:pt x="126" y="789"/>
                    </a:lnTo>
                    <a:lnTo>
                      <a:pt x="128" y="794"/>
                    </a:lnTo>
                    <a:lnTo>
                      <a:pt x="130" y="798"/>
                    </a:lnTo>
                    <a:lnTo>
                      <a:pt x="136" y="798"/>
                    </a:lnTo>
                    <a:lnTo>
                      <a:pt x="138" y="798"/>
                    </a:lnTo>
                    <a:lnTo>
                      <a:pt x="136" y="796"/>
                    </a:lnTo>
                    <a:lnTo>
                      <a:pt x="136" y="794"/>
                    </a:lnTo>
                    <a:lnTo>
                      <a:pt x="136" y="789"/>
                    </a:lnTo>
                    <a:lnTo>
                      <a:pt x="136" y="786"/>
                    </a:lnTo>
                    <a:lnTo>
                      <a:pt x="136" y="781"/>
                    </a:lnTo>
                    <a:lnTo>
                      <a:pt x="136" y="779"/>
                    </a:lnTo>
                    <a:lnTo>
                      <a:pt x="149" y="789"/>
                    </a:lnTo>
                    <a:lnTo>
                      <a:pt x="151" y="791"/>
                    </a:lnTo>
                    <a:lnTo>
                      <a:pt x="156" y="786"/>
                    </a:lnTo>
                    <a:lnTo>
                      <a:pt x="158" y="786"/>
                    </a:lnTo>
                    <a:lnTo>
                      <a:pt x="164" y="788"/>
                    </a:lnTo>
                    <a:lnTo>
                      <a:pt x="167" y="789"/>
                    </a:lnTo>
                    <a:lnTo>
                      <a:pt x="169" y="791"/>
                    </a:lnTo>
                    <a:lnTo>
                      <a:pt x="176" y="789"/>
                    </a:lnTo>
                    <a:lnTo>
                      <a:pt x="179" y="788"/>
                    </a:lnTo>
                    <a:lnTo>
                      <a:pt x="181" y="788"/>
                    </a:lnTo>
                    <a:lnTo>
                      <a:pt x="182" y="786"/>
                    </a:lnTo>
                    <a:lnTo>
                      <a:pt x="184" y="784"/>
                    </a:lnTo>
                    <a:lnTo>
                      <a:pt x="190" y="781"/>
                    </a:lnTo>
                    <a:lnTo>
                      <a:pt x="192" y="781"/>
                    </a:lnTo>
                    <a:lnTo>
                      <a:pt x="192" y="779"/>
                    </a:lnTo>
                    <a:lnTo>
                      <a:pt x="195" y="778"/>
                    </a:lnTo>
                    <a:lnTo>
                      <a:pt x="200" y="775"/>
                    </a:lnTo>
                    <a:lnTo>
                      <a:pt x="205" y="778"/>
                    </a:lnTo>
                    <a:lnTo>
                      <a:pt x="207" y="778"/>
                    </a:lnTo>
                    <a:lnTo>
                      <a:pt x="215" y="776"/>
                    </a:lnTo>
                    <a:lnTo>
                      <a:pt x="215" y="775"/>
                    </a:lnTo>
                    <a:lnTo>
                      <a:pt x="217" y="773"/>
                    </a:lnTo>
                    <a:lnTo>
                      <a:pt x="218" y="773"/>
                    </a:lnTo>
                    <a:lnTo>
                      <a:pt x="220" y="773"/>
                    </a:lnTo>
                    <a:lnTo>
                      <a:pt x="222" y="773"/>
                    </a:lnTo>
                    <a:lnTo>
                      <a:pt x="223" y="771"/>
                    </a:lnTo>
                    <a:lnTo>
                      <a:pt x="223" y="766"/>
                    </a:lnTo>
                    <a:lnTo>
                      <a:pt x="231" y="763"/>
                    </a:lnTo>
                    <a:lnTo>
                      <a:pt x="231" y="765"/>
                    </a:lnTo>
                    <a:lnTo>
                      <a:pt x="233" y="763"/>
                    </a:lnTo>
                    <a:lnTo>
                      <a:pt x="235" y="763"/>
                    </a:lnTo>
                    <a:lnTo>
                      <a:pt x="236" y="763"/>
                    </a:lnTo>
                    <a:lnTo>
                      <a:pt x="238" y="761"/>
                    </a:lnTo>
                    <a:lnTo>
                      <a:pt x="238" y="760"/>
                    </a:lnTo>
                    <a:lnTo>
                      <a:pt x="240" y="758"/>
                    </a:lnTo>
                    <a:lnTo>
                      <a:pt x="241" y="758"/>
                    </a:lnTo>
                    <a:lnTo>
                      <a:pt x="245" y="761"/>
                    </a:lnTo>
                    <a:lnTo>
                      <a:pt x="248" y="758"/>
                    </a:lnTo>
                    <a:lnTo>
                      <a:pt x="250" y="756"/>
                    </a:lnTo>
                    <a:lnTo>
                      <a:pt x="253" y="752"/>
                    </a:lnTo>
                    <a:lnTo>
                      <a:pt x="254" y="748"/>
                    </a:lnTo>
                    <a:lnTo>
                      <a:pt x="259" y="750"/>
                    </a:lnTo>
                    <a:lnTo>
                      <a:pt x="273" y="747"/>
                    </a:lnTo>
                    <a:lnTo>
                      <a:pt x="274" y="745"/>
                    </a:lnTo>
                    <a:lnTo>
                      <a:pt x="277" y="747"/>
                    </a:lnTo>
                    <a:lnTo>
                      <a:pt x="284" y="748"/>
                    </a:lnTo>
                    <a:lnTo>
                      <a:pt x="289" y="750"/>
                    </a:lnTo>
                    <a:lnTo>
                      <a:pt x="294" y="750"/>
                    </a:lnTo>
                    <a:lnTo>
                      <a:pt x="297" y="750"/>
                    </a:lnTo>
                    <a:lnTo>
                      <a:pt x="300" y="752"/>
                    </a:lnTo>
                    <a:lnTo>
                      <a:pt x="302" y="752"/>
                    </a:lnTo>
                    <a:lnTo>
                      <a:pt x="307" y="752"/>
                    </a:lnTo>
                    <a:lnTo>
                      <a:pt x="307" y="755"/>
                    </a:lnTo>
                    <a:lnTo>
                      <a:pt x="307" y="758"/>
                    </a:lnTo>
                    <a:lnTo>
                      <a:pt x="309" y="763"/>
                    </a:lnTo>
                    <a:lnTo>
                      <a:pt x="307" y="770"/>
                    </a:lnTo>
                    <a:lnTo>
                      <a:pt x="307" y="771"/>
                    </a:lnTo>
                    <a:lnTo>
                      <a:pt x="314" y="775"/>
                    </a:lnTo>
                    <a:lnTo>
                      <a:pt x="319" y="775"/>
                    </a:lnTo>
                    <a:lnTo>
                      <a:pt x="320" y="776"/>
                    </a:lnTo>
                    <a:lnTo>
                      <a:pt x="320" y="778"/>
                    </a:lnTo>
                    <a:lnTo>
                      <a:pt x="320" y="779"/>
                    </a:lnTo>
                    <a:lnTo>
                      <a:pt x="319" y="781"/>
                    </a:lnTo>
                    <a:lnTo>
                      <a:pt x="323" y="786"/>
                    </a:lnTo>
                    <a:lnTo>
                      <a:pt x="325" y="788"/>
                    </a:lnTo>
                    <a:lnTo>
                      <a:pt x="325" y="789"/>
                    </a:lnTo>
                    <a:lnTo>
                      <a:pt x="330" y="788"/>
                    </a:lnTo>
                    <a:lnTo>
                      <a:pt x="328" y="789"/>
                    </a:lnTo>
                    <a:lnTo>
                      <a:pt x="330" y="791"/>
                    </a:lnTo>
                    <a:lnTo>
                      <a:pt x="333" y="793"/>
                    </a:lnTo>
                    <a:lnTo>
                      <a:pt x="333" y="794"/>
                    </a:lnTo>
                    <a:lnTo>
                      <a:pt x="335" y="794"/>
                    </a:lnTo>
                    <a:lnTo>
                      <a:pt x="340" y="794"/>
                    </a:lnTo>
                    <a:lnTo>
                      <a:pt x="342" y="794"/>
                    </a:lnTo>
                    <a:lnTo>
                      <a:pt x="343" y="794"/>
                    </a:lnTo>
                    <a:lnTo>
                      <a:pt x="345" y="791"/>
                    </a:lnTo>
                    <a:lnTo>
                      <a:pt x="343" y="789"/>
                    </a:lnTo>
                    <a:lnTo>
                      <a:pt x="346" y="789"/>
                    </a:lnTo>
                    <a:lnTo>
                      <a:pt x="346" y="791"/>
                    </a:lnTo>
                    <a:lnTo>
                      <a:pt x="350" y="789"/>
                    </a:lnTo>
                    <a:lnTo>
                      <a:pt x="351" y="789"/>
                    </a:lnTo>
                    <a:lnTo>
                      <a:pt x="353" y="789"/>
                    </a:lnTo>
                    <a:lnTo>
                      <a:pt x="356" y="786"/>
                    </a:lnTo>
                    <a:lnTo>
                      <a:pt x="360" y="784"/>
                    </a:lnTo>
                    <a:lnTo>
                      <a:pt x="365" y="784"/>
                    </a:lnTo>
                    <a:lnTo>
                      <a:pt x="366" y="784"/>
                    </a:lnTo>
                    <a:lnTo>
                      <a:pt x="369" y="784"/>
                    </a:lnTo>
                    <a:lnTo>
                      <a:pt x="381" y="783"/>
                    </a:lnTo>
                    <a:lnTo>
                      <a:pt x="391" y="779"/>
                    </a:lnTo>
                    <a:lnTo>
                      <a:pt x="401" y="788"/>
                    </a:lnTo>
                    <a:lnTo>
                      <a:pt x="402" y="789"/>
                    </a:lnTo>
                    <a:lnTo>
                      <a:pt x="404" y="793"/>
                    </a:lnTo>
                    <a:lnTo>
                      <a:pt x="401" y="796"/>
                    </a:lnTo>
                    <a:lnTo>
                      <a:pt x="402" y="798"/>
                    </a:lnTo>
                    <a:lnTo>
                      <a:pt x="406" y="798"/>
                    </a:lnTo>
                    <a:lnTo>
                      <a:pt x="407" y="803"/>
                    </a:lnTo>
                    <a:lnTo>
                      <a:pt x="412" y="812"/>
                    </a:lnTo>
                    <a:lnTo>
                      <a:pt x="414" y="817"/>
                    </a:lnTo>
                    <a:lnTo>
                      <a:pt x="420" y="817"/>
                    </a:lnTo>
                    <a:lnTo>
                      <a:pt x="422" y="817"/>
                    </a:lnTo>
                    <a:lnTo>
                      <a:pt x="422" y="822"/>
                    </a:lnTo>
                    <a:lnTo>
                      <a:pt x="427" y="826"/>
                    </a:lnTo>
                    <a:lnTo>
                      <a:pt x="429" y="830"/>
                    </a:lnTo>
                    <a:lnTo>
                      <a:pt x="427" y="832"/>
                    </a:lnTo>
                    <a:lnTo>
                      <a:pt x="425" y="832"/>
                    </a:lnTo>
                    <a:lnTo>
                      <a:pt x="420" y="832"/>
                    </a:lnTo>
                    <a:lnTo>
                      <a:pt x="419" y="832"/>
                    </a:lnTo>
                    <a:lnTo>
                      <a:pt x="414" y="835"/>
                    </a:lnTo>
                    <a:lnTo>
                      <a:pt x="404" y="835"/>
                    </a:lnTo>
                    <a:lnTo>
                      <a:pt x="406" y="842"/>
                    </a:lnTo>
                    <a:lnTo>
                      <a:pt x="404" y="844"/>
                    </a:lnTo>
                    <a:lnTo>
                      <a:pt x="401" y="844"/>
                    </a:lnTo>
                    <a:lnTo>
                      <a:pt x="401" y="842"/>
                    </a:lnTo>
                    <a:lnTo>
                      <a:pt x="399" y="839"/>
                    </a:lnTo>
                    <a:lnTo>
                      <a:pt x="397" y="840"/>
                    </a:lnTo>
                    <a:lnTo>
                      <a:pt x="396" y="842"/>
                    </a:lnTo>
                    <a:lnTo>
                      <a:pt x="397" y="844"/>
                    </a:lnTo>
                    <a:lnTo>
                      <a:pt x="394" y="844"/>
                    </a:lnTo>
                    <a:lnTo>
                      <a:pt x="396" y="850"/>
                    </a:lnTo>
                    <a:lnTo>
                      <a:pt x="392" y="850"/>
                    </a:lnTo>
                    <a:lnTo>
                      <a:pt x="391" y="850"/>
                    </a:lnTo>
                    <a:lnTo>
                      <a:pt x="392" y="853"/>
                    </a:lnTo>
                    <a:lnTo>
                      <a:pt x="386" y="857"/>
                    </a:lnTo>
                    <a:lnTo>
                      <a:pt x="386" y="860"/>
                    </a:lnTo>
                    <a:lnTo>
                      <a:pt x="391" y="862"/>
                    </a:lnTo>
                    <a:lnTo>
                      <a:pt x="394" y="865"/>
                    </a:lnTo>
                    <a:lnTo>
                      <a:pt x="394" y="867"/>
                    </a:lnTo>
                    <a:lnTo>
                      <a:pt x="411" y="876"/>
                    </a:lnTo>
                    <a:lnTo>
                      <a:pt x="414" y="872"/>
                    </a:lnTo>
                    <a:lnTo>
                      <a:pt x="419" y="868"/>
                    </a:lnTo>
                    <a:lnTo>
                      <a:pt x="420" y="868"/>
                    </a:lnTo>
                    <a:lnTo>
                      <a:pt x="424" y="870"/>
                    </a:lnTo>
                    <a:lnTo>
                      <a:pt x="427" y="872"/>
                    </a:lnTo>
                    <a:lnTo>
                      <a:pt x="430" y="881"/>
                    </a:lnTo>
                    <a:lnTo>
                      <a:pt x="437" y="881"/>
                    </a:lnTo>
                    <a:lnTo>
                      <a:pt x="437" y="880"/>
                    </a:lnTo>
                    <a:lnTo>
                      <a:pt x="437" y="881"/>
                    </a:lnTo>
                    <a:lnTo>
                      <a:pt x="438" y="881"/>
                    </a:lnTo>
                    <a:lnTo>
                      <a:pt x="445" y="881"/>
                    </a:lnTo>
                    <a:lnTo>
                      <a:pt x="443" y="878"/>
                    </a:lnTo>
                    <a:lnTo>
                      <a:pt x="445" y="881"/>
                    </a:lnTo>
                    <a:lnTo>
                      <a:pt x="452" y="880"/>
                    </a:lnTo>
                    <a:lnTo>
                      <a:pt x="463" y="876"/>
                    </a:lnTo>
                    <a:lnTo>
                      <a:pt x="466" y="858"/>
                    </a:lnTo>
                    <a:lnTo>
                      <a:pt x="468" y="855"/>
                    </a:lnTo>
                    <a:lnTo>
                      <a:pt x="468" y="853"/>
                    </a:lnTo>
                    <a:lnTo>
                      <a:pt x="466" y="853"/>
                    </a:lnTo>
                    <a:lnTo>
                      <a:pt x="465" y="853"/>
                    </a:lnTo>
                    <a:lnTo>
                      <a:pt x="460" y="847"/>
                    </a:lnTo>
                    <a:lnTo>
                      <a:pt x="465" y="853"/>
                    </a:lnTo>
                    <a:lnTo>
                      <a:pt x="468" y="853"/>
                    </a:lnTo>
                    <a:lnTo>
                      <a:pt x="471" y="852"/>
                    </a:lnTo>
                    <a:lnTo>
                      <a:pt x="471" y="850"/>
                    </a:lnTo>
                    <a:lnTo>
                      <a:pt x="473" y="850"/>
                    </a:lnTo>
                    <a:lnTo>
                      <a:pt x="475" y="852"/>
                    </a:lnTo>
                    <a:lnTo>
                      <a:pt x="484" y="850"/>
                    </a:lnTo>
                    <a:lnTo>
                      <a:pt x="489" y="852"/>
                    </a:lnTo>
                    <a:lnTo>
                      <a:pt x="493" y="849"/>
                    </a:lnTo>
                    <a:lnTo>
                      <a:pt x="494" y="850"/>
                    </a:lnTo>
                    <a:lnTo>
                      <a:pt x="498" y="850"/>
                    </a:lnTo>
                    <a:lnTo>
                      <a:pt x="501" y="847"/>
                    </a:lnTo>
                    <a:lnTo>
                      <a:pt x="494" y="845"/>
                    </a:lnTo>
                    <a:lnTo>
                      <a:pt x="493" y="839"/>
                    </a:lnTo>
                    <a:lnTo>
                      <a:pt x="489" y="837"/>
                    </a:lnTo>
                    <a:lnTo>
                      <a:pt x="489" y="834"/>
                    </a:lnTo>
                    <a:lnTo>
                      <a:pt x="488" y="837"/>
                    </a:lnTo>
                    <a:lnTo>
                      <a:pt x="489" y="834"/>
                    </a:lnTo>
                    <a:lnTo>
                      <a:pt x="489" y="832"/>
                    </a:lnTo>
                    <a:lnTo>
                      <a:pt x="486" y="832"/>
                    </a:lnTo>
                    <a:lnTo>
                      <a:pt x="488" y="832"/>
                    </a:lnTo>
                    <a:lnTo>
                      <a:pt x="489" y="832"/>
                    </a:lnTo>
                    <a:lnTo>
                      <a:pt x="489" y="834"/>
                    </a:lnTo>
                    <a:lnTo>
                      <a:pt x="489" y="830"/>
                    </a:lnTo>
                    <a:lnTo>
                      <a:pt x="484" y="829"/>
                    </a:lnTo>
                    <a:lnTo>
                      <a:pt x="483" y="822"/>
                    </a:lnTo>
                    <a:lnTo>
                      <a:pt x="484" y="824"/>
                    </a:lnTo>
                    <a:lnTo>
                      <a:pt x="486" y="822"/>
                    </a:lnTo>
                    <a:lnTo>
                      <a:pt x="488" y="821"/>
                    </a:lnTo>
                    <a:lnTo>
                      <a:pt x="484" y="827"/>
                    </a:lnTo>
                    <a:lnTo>
                      <a:pt x="486" y="829"/>
                    </a:lnTo>
                    <a:lnTo>
                      <a:pt x="486" y="827"/>
                    </a:lnTo>
                    <a:lnTo>
                      <a:pt x="488" y="824"/>
                    </a:lnTo>
                    <a:lnTo>
                      <a:pt x="486" y="827"/>
                    </a:lnTo>
                    <a:lnTo>
                      <a:pt x="489" y="829"/>
                    </a:lnTo>
                    <a:lnTo>
                      <a:pt x="491" y="834"/>
                    </a:lnTo>
                    <a:lnTo>
                      <a:pt x="489" y="837"/>
                    </a:lnTo>
                    <a:lnTo>
                      <a:pt x="491" y="835"/>
                    </a:lnTo>
                    <a:lnTo>
                      <a:pt x="493" y="837"/>
                    </a:lnTo>
                    <a:lnTo>
                      <a:pt x="494" y="835"/>
                    </a:lnTo>
                    <a:lnTo>
                      <a:pt x="496" y="835"/>
                    </a:lnTo>
                    <a:lnTo>
                      <a:pt x="499" y="837"/>
                    </a:lnTo>
                    <a:lnTo>
                      <a:pt x="503" y="835"/>
                    </a:lnTo>
                    <a:lnTo>
                      <a:pt x="503" y="829"/>
                    </a:lnTo>
                    <a:lnTo>
                      <a:pt x="503" y="827"/>
                    </a:lnTo>
                    <a:lnTo>
                      <a:pt x="504" y="829"/>
                    </a:lnTo>
                    <a:lnTo>
                      <a:pt x="507" y="829"/>
                    </a:lnTo>
                    <a:lnTo>
                      <a:pt x="506" y="829"/>
                    </a:lnTo>
                    <a:lnTo>
                      <a:pt x="507" y="829"/>
                    </a:lnTo>
                    <a:lnTo>
                      <a:pt x="509" y="830"/>
                    </a:lnTo>
                    <a:lnTo>
                      <a:pt x="517" y="832"/>
                    </a:lnTo>
                    <a:lnTo>
                      <a:pt x="519" y="832"/>
                    </a:lnTo>
                    <a:lnTo>
                      <a:pt x="526" y="834"/>
                    </a:lnTo>
                    <a:lnTo>
                      <a:pt x="532" y="832"/>
                    </a:lnTo>
                    <a:lnTo>
                      <a:pt x="535" y="832"/>
                    </a:lnTo>
                    <a:lnTo>
                      <a:pt x="547" y="832"/>
                    </a:lnTo>
                    <a:lnTo>
                      <a:pt x="553" y="834"/>
                    </a:lnTo>
                    <a:lnTo>
                      <a:pt x="555" y="835"/>
                    </a:lnTo>
                    <a:lnTo>
                      <a:pt x="557" y="835"/>
                    </a:lnTo>
                    <a:lnTo>
                      <a:pt x="565" y="835"/>
                    </a:lnTo>
                    <a:lnTo>
                      <a:pt x="568" y="837"/>
                    </a:lnTo>
                    <a:lnTo>
                      <a:pt x="573" y="837"/>
                    </a:lnTo>
                    <a:lnTo>
                      <a:pt x="581" y="840"/>
                    </a:lnTo>
                    <a:lnTo>
                      <a:pt x="585" y="842"/>
                    </a:lnTo>
                    <a:lnTo>
                      <a:pt x="588" y="842"/>
                    </a:lnTo>
                    <a:lnTo>
                      <a:pt x="599" y="830"/>
                    </a:lnTo>
                    <a:lnTo>
                      <a:pt x="609" y="826"/>
                    </a:lnTo>
                    <a:lnTo>
                      <a:pt x="609" y="822"/>
                    </a:lnTo>
                    <a:close/>
                    <a:moveTo>
                      <a:pt x="614" y="15"/>
                    </a:moveTo>
                    <a:lnTo>
                      <a:pt x="614" y="13"/>
                    </a:lnTo>
                    <a:lnTo>
                      <a:pt x="613" y="15"/>
                    </a:lnTo>
                    <a:lnTo>
                      <a:pt x="614" y="13"/>
                    </a:lnTo>
                    <a:lnTo>
                      <a:pt x="614" y="12"/>
                    </a:lnTo>
                    <a:lnTo>
                      <a:pt x="616" y="12"/>
                    </a:lnTo>
                    <a:lnTo>
                      <a:pt x="619" y="12"/>
                    </a:lnTo>
                    <a:lnTo>
                      <a:pt x="621" y="12"/>
                    </a:lnTo>
                    <a:lnTo>
                      <a:pt x="621" y="13"/>
                    </a:lnTo>
                    <a:lnTo>
                      <a:pt x="624" y="12"/>
                    </a:lnTo>
                    <a:lnTo>
                      <a:pt x="621" y="10"/>
                    </a:lnTo>
                    <a:lnTo>
                      <a:pt x="619" y="7"/>
                    </a:lnTo>
                    <a:lnTo>
                      <a:pt x="616" y="5"/>
                    </a:lnTo>
                    <a:lnTo>
                      <a:pt x="611" y="12"/>
                    </a:lnTo>
                    <a:lnTo>
                      <a:pt x="613" y="13"/>
                    </a:lnTo>
                    <a:lnTo>
                      <a:pt x="614" y="12"/>
                    </a:lnTo>
                    <a:lnTo>
                      <a:pt x="614" y="13"/>
                    </a:lnTo>
                    <a:lnTo>
                      <a:pt x="613" y="13"/>
                    </a:lnTo>
                    <a:lnTo>
                      <a:pt x="611" y="15"/>
                    </a:lnTo>
                    <a:lnTo>
                      <a:pt x="613" y="17"/>
                    </a:lnTo>
                    <a:lnTo>
                      <a:pt x="611" y="18"/>
                    </a:lnTo>
                    <a:lnTo>
                      <a:pt x="614" y="15"/>
                    </a:lnTo>
                    <a:close/>
                    <a:moveTo>
                      <a:pt x="565" y="8"/>
                    </a:moveTo>
                    <a:lnTo>
                      <a:pt x="568" y="8"/>
                    </a:lnTo>
                    <a:lnTo>
                      <a:pt x="570" y="7"/>
                    </a:lnTo>
                    <a:lnTo>
                      <a:pt x="567" y="7"/>
                    </a:lnTo>
                    <a:lnTo>
                      <a:pt x="558" y="7"/>
                    </a:lnTo>
                    <a:lnTo>
                      <a:pt x="558" y="8"/>
                    </a:lnTo>
                    <a:lnTo>
                      <a:pt x="560" y="8"/>
                    </a:lnTo>
                    <a:lnTo>
                      <a:pt x="563" y="10"/>
                    </a:lnTo>
                    <a:lnTo>
                      <a:pt x="565" y="8"/>
                    </a:lnTo>
                    <a:close/>
                    <a:moveTo>
                      <a:pt x="498" y="12"/>
                    </a:moveTo>
                    <a:lnTo>
                      <a:pt x="499" y="12"/>
                    </a:lnTo>
                    <a:lnTo>
                      <a:pt x="498" y="12"/>
                    </a:lnTo>
                    <a:close/>
                    <a:moveTo>
                      <a:pt x="618" y="17"/>
                    </a:moveTo>
                    <a:lnTo>
                      <a:pt x="619" y="17"/>
                    </a:lnTo>
                    <a:lnTo>
                      <a:pt x="621" y="17"/>
                    </a:lnTo>
                    <a:lnTo>
                      <a:pt x="624" y="15"/>
                    </a:lnTo>
                    <a:lnTo>
                      <a:pt x="626" y="17"/>
                    </a:lnTo>
                    <a:lnTo>
                      <a:pt x="629" y="15"/>
                    </a:lnTo>
                    <a:lnTo>
                      <a:pt x="626" y="13"/>
                    </a:lnTo>
                    <a:lnTo>
                      <a:pt x="627" y="12"/>
                    </a:lnTo>
                    <a:lnTo>
                      <a:pt x="626" y="12"/>
                    </a:lnTo>
                    <a:lnTo>
                      <a:pt x="621" y="13"/>
                    </a:lnTo>
                    <a:lnTo>
                      <a:pt x="621" y="12"/>
                    </a:lnTo>
                    <a:lnTo>
                      <a:pt x="619" y="12"/>
                    </a:lnTo>
                    <a:lnTo>
                      <a:pt x="619" y="15"/>
                    </a:lnTo>
                    <a:lnTo>
                      <a:pt x="622" y="15"/>
                    </a:lnTo>
                    <a:lnTo>
                      <a:pt x="619" y="15"/>
                    </a:lnTo>
                    <a:lnTo>
                      <a:pt x="618" y="17"/>
                    </a:lnTo>
                    <a:close/>
                    <a:moveTo>
                      <a:pt x="619" y="13"/>
                    </a:moveTo>
                    <a:lnTo>
                      <a:pt x="616" y="12"/>
                    </a:lnTo>
                    <a:lnTo>
                      <a:pt x="614" y="15"/>
                    </a:lnTo>
                    <a:lnTo>
                      <a:pt x="618" y="17"/>
                    </a:lnTo>
                    <a:lnTo>
                      <a:pt x="619" y="13"/>
                    </a:lnTo>
                    <a:close/>
                    <a:moveTo>
                      <a:pt x="568" y="15"/>
                    </a:moveTo>
                    <a:lnTo>
                      <a:pt x="568" y="13"/>
                    </a:lnTo>
                    <a:lnTo>
                      <a:pt x="570" y="15"/>
                    </a:lnTo>
                    <a:lnTo>
                      <a:pt x="570" y="13"/>
                    </a:lnTo>
                    <a:lnTo>
                      <a:pt x="568" y="13"/>
                    </a:lnTo>
                    <a:lnTo>
                      <a:pt x="568" y="15"/>
                    </a:lnTo>
                    <a:lnTo>
                      <a:pt x="568" y="17"/>
                    </a:lnTo>
                    <a:lnTo>
                      <a:pt x="568" y="15"/>
                    </a:lnTo>
                    <a:close/>
                    <a:moveTo>
                      <a:pt x="678" y="13"/>
                    </a:moveTo>
                    <a:lnTo>
                      <a:pt x="678" y="15"/>
                    </a:lnTo>
                    <a:lnTo>
                      <a:pt x="678" y="13"/>
                    </a:lnTo>
                    <a:close/>
                    <a:moveTo>
                      <a:pt x="647" y="17"/>
                    </a:moveTo>
                    <a:lnTo>
                      <a:pt x="649" y="17"/>
                    </a:lnTo>
                    <a:lnTo>
                      <a:pt x="644" y="15"/>
                    </a:lnTo>
                    <a:lnTo>
                      <a:pt x="644" y="17"/>
                    </a:lnTo>
                    <a:lnTo>
                      <a:pt x="647" y="17"/>
                    </a:lnTo>
                    <a:close/>
                    <a:moveTo>
                      <a:pt x="668" y="18"/>
                    </a:moveTo>
                    <a:lnTo>
                      <a:pt x="668" y="17"/>
                    </a:lnTo>
                    <a:lnTo>
                      <a:pt x="667" y="15"/>
                    </a:lnTo>
                    <a:lnTo>
                      <a:pt x="657" y="15"/>
                    </a:lnTo>
                    <a:lnTo>
                      <a:pt x="665" y="20"/>
                    </a:lnTo>
                    <a:lnTo>
                      <a:pt x="665" y="18"/>
                    </a:lnTo>
                    <a:lnTo>
                      <a:pt x="667" y="18"/>
                    </a:lnTo>
                    <a:lnTo>
                      <a:pt x="665" y="17"/>
                    </a:lnTo>
                    <a:lnTo>
                      <a:pt x="667" y="17"/>
                    </a:lnTo>
                    <a:lnTo>
                      <a:pt x="667" y="18"/>
                    </a:lnTo>
                    <a:lnTo>
                      <a:pt x="668" y="20"/>
                    </a:lnTo>
                    <a:lnTo>
                      <a:pt x="668" y="18"/>
                    </a:lnTo>
                    <a:close/>
                    <a:moveTo>
                      <a:pt x="616" y="18"/>
                    </a:moveTo>
                    <a:lnTo>
                      <a:pt x="618" y="17"/>
                    </a:lnTo>
                    <a:lnTo>
                      <a:pt x="614" y="17"/>
                    </a:lnTo>
                    <a:lnTo>
                      <a:pt x="613" y="18"/>
                    </a:lnTo>
                    <a:lnTo>
                      <a:pt x="616" y="18"/>
                    </a:lnTo>
                    <a:close/>
                    <a:moveTo>
                      <a:pt x="662" y="18"/>
                    </a:moveTo>
                    <a:lnTo>
                      <a:pt x="660" y="18"/>
                    </a:lnTo>
                    <a:lnTo>
                      <a:pt x="662" y="18"/>
                    </a:lnTo>
                    <a:close/>
                    <a:moveTo>
                      <a:pt x="884" y="385"/>
                    </a:moveTo>
                    <a:lnTo>
                      <a:pt x="884" y="383"/>
                    </a:lnTo>
                    <a:lnTo>
                      <a:pt x="885" y="382"/>
                    </a:lnTo>
                    <a:lnTo>
                      <a:pt x="885" y="383"/>
                    </a:lnTo>
                    <a:lnTo>
                      <a:pt x="885" y="382"/>
                    </a:lnTo>
                    <a:lnTo>
                      <a:pt x="887" y="382"/>
                    </a:lnTo>
                    <a:lnTo>
                      <a:pt x="885" y="380"/>
                    </a:lnTo>
                    <a:lnTo>
                      <a:pt x="885" y="382"/>
                    </a:lnTo>
                    <a:lnTo>
                      <a:pt x="885" y="380"/>
                    </a:lnTo>
                    <a:lnTo>
                      <a:pt x="885" y="382"/>
                    </a:lnTo>
                    <a:lnTo>
                      <a:pt x="885" y="380"/>
                    </a:lnTo>
                    <a:lnTo>
                      <a:pt x="885" y="382"/>
                    </a:lnTo>
                    <a:lnTo>
                      <a:pt x="887" y="382"/>
                    </a:lnTo>
                    <a:lnTo>
                      <a:pt x="885" y="382"/>
                    </a:lnTo>
                    <a:lnTo>
                      <a:pt x="885" y="383"/>
                    </a:lnTo>
                    <a:lnTo>
                      <a:pt x="885" y="382"/>
                    </a:lnTo>
                    <a:lnTo>
                      <a:pt x="884" y="382"/>
                    </a:lnTo>
                    <a:lnTo>
                      <a:pt x="884" y="383"/>
                    </a:lnTo>
                    <a:lnTo>
                      <a:pt x="882" y="385"/>
                    </a:lnTo>
                    <a:lnTo>
                      <a:pt x="884" y="385"/>
                    </a:lnTo>
                    <a:close/>
                    <a:moveTo>
                      <a:pt x="843" y="531"/>
                    </a:moveTo>
                    <a:lnTo>
                      <a:pt x="851" y="525"/>
                    </a:lnTo>
                    <a:lnTo>
                      <a:pt x="848" y="525"/>
                    </a:lnTo>
                    <a:lnTo>
                      <a:pt x="843" y="531"/>
                    </a:lnTo>
                    <a:lnTo>
                      <a:pt x="839" y="531"/>
                    </a:lnTo>
                    <a:lnTo>
                      <a:pt x="838" y="533"/>
                    </a:lnTo>
                    <a:lnTo>
                      <a:pt x="843" y="531"/>
                    </a:lnTo>
                    <a:close/>
                    <a:moveTo>
                      <a:pt x="833" y="536"/>
                    </a:moveTo>
                    <a:lnTo>
                      <a:pt x="831" y="536"/>
                    </a:lnTo>
                    <a:lnTo>
                      <a:pt x="829" y="539"/>
                    </a:lnTo>
                    <a:lnTo>
                      <a:pt x="833" y="536"/>
                    </a:lnTo>
                    <a:close/>
                    <a:moveTo>
                      <a:pt x="779" y="538"/>
                    </a:moveTo>
                    <a:lnTo>
                      <a:pt x="779" y="539"/>
                    </a:lnTo>
                    <a:lnTo>
                      <a:pt x="779" y="538"/>
                    </a:lnTo>
                    <a:close/>
                    <a:moveTo>
                      <a:pt x="825" y="543"/>
                    </a:moveTo>
                    <a:lnTo>
                      <a:pt x="825" y="544"/>
                    </a:lnTo>
                    <a:lnTo>
                      <a:pt x="825" y="543"/>
                    </a:lnTo>
                    <a:close/>
                    <a:moveTo>
                      <a:pt x="744" y="633"/>
                    </a:moveTo>
                    <a:lnTo>
                      <a:pt x="749" y="635"/>
                    </a:lnTo>
                    <a:lnTo>
                      <a:pt x="749" y="630"/>
                    </a:lnTo>
                    <a:lnTo>
                      <a:pt x="744" y="630"/>
                    </a:lnTo>
                    <a:lnTo>
                      <a:pt x="746" y="630"/>
                    </a:lnTo>
                    <a:lnTo>
                      <a:pt x="744" y="627"/>
                    </a:lnTo>
                    <a:lnTo>
                      <a:pt x="742" y="628"/>
                    </a:lnTo>
                    <a:lnTo>
                      <a:pt x="744" y="632"/>
                    </a:lnTo>
                    <a:lnTo>
                      <a:pt x="744" y="635"/>
                    </a:lnTo>
                    <a:lnTo>
                      <a:pt x="747" y="635"/>
                    </a:lnTo>
                    <a:lnTo>
                      <a:pt x="744" y="633"/>
                    </a:lnTo>
                    <a:close/>
                    <a:moveTo>
                      <a:pt x="742" y="628"/>
                    </a:moveTo>
                    <a:lnTo>
                      <a:pt x="739" y="628"/>
                    </a:lnTo>
                    <a:lnTo>
                      <a:pt x="742" y="630"/>
                    </a:lnTo>
                    <a:lnTo>
                      <a:pt x="742" y="628"/>
                    </a:lnTo>
                    <a:close/>
                    <a:moveTo>
                      <a:pt x="742" y="636"/>
                    </a:moveTo>
                    <a:lnTo>
                      <a:pt x="742" y="635"/>
                    </a:lnTo>
                    <a:lnTo>
                      <a:pt x="742" y="633"/>
                    </a:lnTo>
                    <a:lnTo>
                      <a:pt x="739" y="635"/>
                    </a:lnTo>
                    <a:lnTo>
                      <a:pt x="742" y="635"/>
                    </a:lnTo>
                    <a:lnTo>
                      <a:pt x="742" y="636"/>
                    </a:lnTo>
                    <a:lnTo>
                      <a:pt x="737" y="638"/>
                    </a:lnTo>
                    <a:lnTo>
                      <a:pt x="742" y="636"/>
                    </a:lnTo>
                    <a:close/>
                    <a:moveTo>
                      <a:pt x="762" y="641"/>
                    </a:moveTo>
                    <a:lnTo>
                      <a:pt x="757" y="638"/>
                    </a:lnTo>
                    <a:lnTo>
                      <a:pt x="754" y="636"/>
                    </a:lnTo>
                    <a:lnTo>
                      <a:pt x="757" y="638"/>
                    </a:lnTo>
                    <a:lnTo>
                      <a:pt x="756" y="638"/>
                    </a:lnTo>
                    <a:lnTo>
                      <a:pt x="757" y="641"/>
                    </a:lnTo>
                    <a:lnTo>
                      <a:pt x="759" y="640"/>
                    </a:lnTo>
                    <a:lnTo>
                      <a:pt x="759" y="641"/>
                    </a:lnTo>
                    <a:lnTo>
                      <a:pt x="762" y="641"/>
                    </a:lnTo>
                    <a:close/>
                    <a:moveTo>
                      <a:pt x="749" y="641"/>
                    </a:moveTo>
                    <a:lnTo>
                      <a:pt x="751" y="641"/>
                    </a:lnTo>
                    <a:lnTo>
                      <a:pt x="752" y="640"/>
                    </a:lnTo>
                    <a:lnTo>
                      <a:pt x="751" y="641"/>
                    </a:lnTo>
                    <a:lnTo>
                      <a:pt x="749" y="641"/>
                    </a:lnTo>
                    <a:lnTo>
                      <a:pt x="754" y="641"/>
                    </a:lnTo>
                    <a:lnTo>
                      <a:pt x="754" y="638"/>
                    </a:lnTo>
                    <a:lnTo>
                      <a:pt x="752" y="636"/>
                    </a:lnTo>
                    <a:lnTo>
                      <a:pt x="746" y="638"/>
                    </a:lnTo>
                    <a:lnTo>
                      <a:pt x="746" y="640"/>
                    </a:lnTo>
                    <a:lnTo>
                      <a:pt x="746" y="638"/>
                    </a:lnTo>
                    <a:lnTo>
                      <a:pt x="744" y="638"/>
                    </a:lnTo>
                    <a:lnTo>
                      <a:pt x="742" y="641"/>
                    </a:lnTo>
                    <a:lnTo>
                      <a:pt x="749" y="645"/>
                    </a:lnTo>
                    <a:lnTo>
                      <a:pt x="749" y="641"/>
                    </a:lnTo>
                    <a:close/>
                    <a:moveTo>
                      <a:pt x="734" y="636"/>
                    </a:moveTo>
                    <a:lnTo>
                      <a:pt x="736" y="636"/>
                    </a:lnTo>
                    <a:lnTo>
                      <a:pt x="736" y="638"/>
                    </a:lnTo>
                    <a:lnTo>
                      <a:pt x="734" y="638"/>
                    </a:lnTo>
                    <a:lnTo>
                      <a:pt x="734" y="636"/>
                    </a:lnTo>
                    <a:close/>
                    <a:moveTo>
                      <a:pt x="736" y="638"/>
                    </a:moveTo>
                    <a:lnTo>
                      <a:pt x="737" y="638"/>
                    </a:lnTo>
                    <a:lnTo>
                      <a:pt x="736" y="638"/>
                    </a:lnTo>
                    <a:close/>
                    <a:moveTo>
                      <a:pt x="754" y="638"/>
                    </a:moveTo>
                    <a:lnTo>
                      <a:pt x="754" y="641"/>
                    </a:lnTo>
                    <a:lnTo>
                      <a:pt x="752" y="641"/>
                    </a:lnTo>
                    <a:lnTo>
                      <a:pt x="756" y="643"/>
                    </a:lnTo>
                    <a:lnTo>
                      <a:pt x="754" y="638"/>
                    </a:lnTo>
                    <a:close/>
                    <a:moveTo>
                      <a:pt x="757" y="648"/>
                    </a:moveTo>
                    <a:lnTo>
                      <a:pt x="756" y="643"/>
                    </a:lnTo>
                    <a:lnTo>
                      <a:pt x="752" y="643"/>
                    </a:lnTo>
                    <a:lnTo>
                      <a:pt x="751" y="645"/>
                    </a:lnTo>
                    <a:lnTo>
                      <a:pt x="756" y="648"/>
                    </a:lnTo>
                    <a:lnTo>
                      <a:pt x="757" y="648"/>
                    </a:lnTo>
                    <a:close/>
                    <a:moveTo>
                      <a:pt x="756" y="650"/>
                    </a:moveTo>
                    <a:lnTo>
                      <a:pt x="757" y="650"/>
                    </a:lnTo>
                    <a:lnTo>
                      <a:pt x="757" y="651"/>
                    </a:lnTo>
                    <a:lnTo>
                      <a:pt x="756" y="651"/>
                    </a:lnTo>
                    <a:lnTo>
                      <a:pt x="756" y="650"/>
                    </a:lnTo>
                    <a:close/>
                    <a:moveTo>
                      <a:pt x="654" y="674"/>
                    </a:moveTo>
                    <a:lnTo>
                      <a:pt x="655" y="676"/>
                    </a:lnTo>
                    <a:lnTo>
                      <a:pt x="657" y="678"/>
                    </a:lnTo>
                    <a:lnTo>
                      <a:pt x="654" y="674"/>
                    </a:lnTo>
                    <a:close/>
                    <a:moveTo>
                      <a:pt x="654" y="678"/>
                    </a:moveTo>
                    <a:lnTo>
                      <a:pt x="652" y="678"/>
                    </a:lnTo>
                    <a:lnTo>
                      <a:pt x="654" y="679"/>
                    </a:lnTo>
                    <a:lnTo>
                      <a:pt x="654" y="678"/>
                    </a:lnTo>
                    <a:close/>
                    <a:moveTo>
                      <a:pt x="637" y="699"/>
                    </a:moveTo>
                    <a:lnTo>
                      <a:pt x="645" y="697"/>
                    </a:lnTo>
                    <a:lnTo>
                      <a:pt x="659" y="691"/>
                    </a:lnTo>
                    <a:lnTo>
                      <a:pt x="665" y="684"/>
                    </a:lnTo>
                    <a:lnTo>
                      <a:pt x="660" y="682"/>
                    </a:lnTo>
                    <a:lnTo>
                      <a:pt x="654" y="682"/>
                    </a:lnTo>
                    <a:lnTo>
                      <a:pt x="650" y="679"/>
                    </a:lnTo>
                    <a:lnTo>
                      <a:pt x="645" y="679"/>
                    </a:lnTo>
                    <a:lnTo>
                      <a:pt x="644" y="681"/>
                    </a:lnTo>
                    <a:lnTo>
                      <a:pt x="642" y="682"/>
                    </a:lnTo>
                    <a:lnTo>
                      <a:pt x="642" y="681"/>
                    </a:lnTo>
                    <a:lnTo>
                      <a:pt x="639" y="684"/>
                    </a:lnTo>
                    <a:lnTo>
                      <a:pt x="636" y="684"/>
                    </a:lnTo>
                    <a:lnTo>
                      <a:pt x="634" y="687"/>
                    </a:lnTo>
                    <a:lnTo>
                      <a:pt x="631" y="689"/>
                    </a:lnTo>
                    <a:lnTo>
                      <a:pt x="627" y="694"/>
                    </a:lnTo>
                    <a:lnTo>
                      <a:pt x="627" y="696"/>
                    </a:lnTo>
                    <a:lnTo>
                      <a:pt x="627" y="697"/>
                    </a:lnTo>
                    <a:lnTo>
                      <a:pt x="627" y="699"/>
                    </a:lnTo>
                    <a:lnTo>
                      <a:pt x="629" y="699"/>
                    </a:lnTo>
                    <a:lnTo>
                      <a:pt x="634" y="699"/>
                    </a:lnTo>
                    <a:lnTo>
                      <a:pt x="637" y="699"/>
                    </a:lnTo>
                    <a:close/>
                    <a:moveTo>
                      <a:pt x="677" y="682"/>
                    </a:moveTo>
                    <a:lnTo>
                      <a:pt x="673" y="682"/>
                    </a:lnTo>
                    <a:lnTo>
                      <a:pt x="672" y="682"/>
                    </a:lnTo>
                    <a:lnTo>
                      <a:pt x="673" y="682"/>
                    </a:lnTo>
                    <a:lnTo>
                      <a:pt x="677" y="682"/>
                    </a:lnTo>
                    <a:close/>
                    <a:moveTo>
                      <a:pt x="624" y="699"/>
                    </a:moveTo>
                    <a:lnTo>
                      <a:pt x="622" y="696"/>
                    </a:lnTo>
                    <a:lnTo>
                      <a:pt x="624" y="701"/>
                    </a:lnTo>
                    <a:lnTo>
                      <a:pt x="624" y="699"/>
                    </a:lnTo>
                    <a:close/>
                    <a:moveTo>
                      <a:pt x="618" y="705"/>
                    </a:moveTo>
                    <a:lnTo>
                      <a:pt x="619" y="705"/>
                    </a:lnTo>
                    <a:lnTo>
                      <a:pt x="621" y="707"/>
                    </a:lnTo>
                    <a:lnTo>
                      <a:pt x="618" y="705"/>
                    </a:lnTo>
                    <a:close/>
                    <a:moveTo>
                      <a:pt x="609" y="714"/>
                    </a:moveTo>
                    <a:lnTo>
                      <a:pt x="609" y="715"/>
                    </a:lnTo>
                    <a:lnTo>
                      <a:pt x="609" y="714"/>
                    </a:lnTo>
                    <a:close/>
                    <a:moveTo>
                      <a:pt x="606" y="719"/>
                    </a:moveTo>
                    <a:lnTo>
                      <a:pt x="608" y="719"/>
                    </a:lnTo>
                    <a:lnTo>
                      <a:pt x="606" y="719"/>
                    </a:lnTo>
                    <a:close/>
                    <a:moveTo>
                      <a:pt x="622" y="720"/>
                    </a:moveTo>
                    <a:lnTo>
                      <a:pt x="622" y="719"/>
                    </a:lnTo>
                    <a:lnTo>
                      <a:pt x="619" y="724"/>
                    </a:lnTo>
                    <a:lnTo>
                      <a:pt x="622" y="720"/>
                    </a:lnTo>
                    <a:close/>
                    <a:moveTo>
                      <a:pt x="567" y="729"/>
                    </a:moveTo>
                    <a:lnTo>
                      <a:pt x="565" y="729"/>
                    </a:lnTo>
                    <a:lnTo>
                      <a:pt x="567" y="727"/>
                    </a:lnTo>
                    <a:lnTo>
                      <a:pt x="567" y="725"/>
                    </a:lnTo>
                    <a:lnTo>
                      <a:pt x="565" y="727"/>
                    </a:lnTo>
                    <a:lnTo>
                      <a:pt x="565" y="724"/>
                    </a:lnTo>
                    <a:lnTo>
                      <a:pt x="560" y="730"/>
                    </a:lnTo>
                    <a:lnTo>
                      <a:pt x="567" y="732"/>
                    </a:lnTo>
                    <a:lnTo>
                      <a:pt x="567" y="729"/>
                    </a:lnTo>
                    <a:close/>
                    <a:moveTo>
                      <a:pt x="588" y="729"/>
                    </a:moveTo>
                    <a:lnTo>
                      <a:pt x="583" y="725"/>
                    </a:lnTo>
                    <a:lnTo>
                      <a:pt x="576" y="725"/>
                    </a:lnTo>
                    <a:lnTo>
                      <a:pt x="576" y="727"/>
                    </a:lnTo>
                    <a:lnTo>
                      <a:pt x="583" y="730"/>
                    </a:lnTo>
                    <a:lnTo>
                      <a:pt x="588" y="729"/>
                    </a:lnTo>
                    <a:close/>
                    <a:moveTo>
                      <a:pt x="609" y="732"/>
                    </a:moveTo>
                    <a:lnTo>
                      <a:pt x="611" y="732"/>
                    </a:lnTo>
                    <a:lnTo>
                      <a:pt x="609" y="732"/>
                    </a:lnTo>
                    <a:close/>
                    <a:moveTo>
                      <a:pt x="570" y="745"/>
                    </a:moveTo>
                    <a:lnTo>
                      <a:pt x="572" y="745"/>
                    </a:lnTo>
                    <a:lnTo>
                      <a:pt x="572" y="747"/>
                    </a:lnTo>
                    <a:lnTo>
                      <a:pt x="570" y="747"/>
                    </a:lnTo>
                    <a:lnTo>
                      <a:pt x="570" y="745"/>
                    </a:lnTo>
                    <a:close/>
                    <a:moveTo>
                      <a:pt x="568" y="776"/>
                    </a:moveTo>
                    <a:lnTo>
                      <a:pt x="570" y="776"/>
                    </a:lnTo>
                    <a:lnTo>
                      <a:pt x="568" y="775"/>
                    </a:lnTo>
                    <a:lnTo>
                      <a:pt x="573" y="775"/>
                    </a:lnTo>
                    <a:lnTo>
                      <a:pt x="575" y="773"/>
                    </a:lnTo>
                    <a:lnTo>
                      <a:pt x="573" y="775"/>
                    </a:lnTo>
                    <a:lnTo>
                      <a:pt x="568" y="775"/>
                    </a:lnTo>
                    <a:lnTo>
                      <a:pt x="567" y="775"/>
                    </a:lnTo>
                    <a:lnTo>
                      <a:pt x="563" y="775"/>
                    </a:lnTo>
                    <a:lnTo>
                      <a:pt x="562" y="776"/>
                    </a:lnTo>
                    <a:lnTo>
                      <a:pt x="567" y="776"/>
                    </a:lnTo>
                    <a:lnTo>
                      <a:pt x="570" y="778"/>
                    </a:lnTo>
                    <a:lnTo>
                      <a:pt x="568" y="776"/>
                    </a:lnTo>
                    <a:close/>
                    <a:moveTo>
                      <a:pt x="580" y="775"/>
                    </a:moveTo>
                    <a:lnTo>
                      <a:pt x="578" y="775"/>
                    </a:lnTo>
                    <a:lnTo>
                      <a:pt x="575" y="775"/>
                    </a:lnTo>
                    <a:lnTo>
                      <a:pt x="578" y="775"/>
                    </a:lnTo>
                    <a:lnTo>
                      <a:pt x="575" y="778"/>
                    </a:lnTo>
                    <a:lnTo>
                      <a:pt x="580" y="775"/>
                    </a:lnTo>
                    <a:close/>
                    <a:moveTo>
                      <a:pt x="555" y="776"/>
                    </a:moveTo>
                    <a:lnTo>
                      <a:pt x="557" y="776"/>
                    </a:lnTo>
                    <a:lnTo>
                      <a:pt x="555" y="776"/>
                    </a:lnTo>
                    <a:close/>
                    <a:moveTo>
                      <a:pt x="570" y="778"/>
                    </a:moveTo>
                    <a:lnTo>
                      <a:pt x="572" y="778"/>
                    </a:lnTo>
                    <a:lnTo>
                      <a:pt x="570" y="778"/>
                    </a:lnTo>
                    <a:close/>
                    <a:moveTo>
                      <a:pt x="575" y="778"/>
                    </a:moveTo>
                    <a:lnTo>
                      <a:pt x="572" y="778"/>
                    </a:lnTo>
                    <a:lnTo>
                      <a:pt x="573" y="778"/>
                    </a:lnTo>
                    <a:lnTo>
                      <a:pt x="575" y="778"/>
                    </a:lnTo>
                    <a:close/>
                    <a:moveTo>
                      <a:pt x="516" y="849"/>
                    </a:moveTo>
                    <a:lnTo>
                      <a:pt x="517" y="847"/>
                    </a:lnTo>
                    <a:lnTo>
                      <a:pt x="519" y="849"/>
                    </a:lnTo>
                    <a:lnTo>
                      <a:pt x="524" y="847"/>
                    </a:lnTo>
                    <a:lnTo>
                      <a:pt x="527" y="847"/>
                    </a:lnTo>
                    <a:lnTo>
                      <a:pt x="535" y="842"/>
                    </a:lnTo>
                    <a:lnTo>
                      <a:pt x="532" y="840"/>
                    </a:lnTo>
                    <a:lnTo>
                      <a:pt x="530" y="842"/>
                    </a:lnTo>
                    <a:lnTo>
                      <a:pt x="529" y="844"/>
                    </a:lnTo>
                    <a:lnTo>
                      <a:pt x="527" y="842"/>
                    </a:lnTo>
                    <a:lnTo>
                      <a:pt x="530" y="842"/>
                    </a:lnTo>
                    <a:lnTo>
                      <a:pt x="534" y="840"/>
                    </a:lnTo>
                    <a:lnTo>
                      <a:pt x="532" y="839"/>
                    </a:lnTo>
                    <a:lnTo>
                      <a:pt x="522" y="837"/>
                    </a:lnTo>
                    <a:lnTo>
                      <a:pt x="521" y="837"/>
                    </a:lnTo>
                    <a:lnTo>
                      <a:pt x="521" y="835"/>
                    </a:lnTo>
                    <a:lnTo>
                      <a:pt x="524" y="837"/>
                    </a:lnTo>
                    <a:lnTo>
                      <a:pt x="522" y="834"/>
                    </a:lnTo>
                    <a:lnTo>
                      <a:pt x="521" y="835"/>
                    </a:lnTo>
                    <a:lnTo>
                      <a:pt x="517" y="834"/>
                    </a:lnTo>
                    <a:lnTo>
                      <a:pt x="516" y="834"/>
                    </a:lnTo>
                    <a:lnTo>
                      <a:pt x="514" y="834"/>
                    </a:lnTo>
                    <a:lnTo>
                      <a:pt x="516" y="834"/>
                    </a:lnTo>
                    <a:lnTo>
                      <a:pt x="514" y="834"/>
                    </a:lnTo>
                    <a:lnTo>
                      <a:pt x="516" y="834"/>
                    </a:lnTo>
                    <a:lnTo>
                      <a:pt x="517" y="834"/>
                    </a:lnTo>
                    <a:lnTo>
                      <a:pt x="512" y="832"/>
                    </a:lnTo>
                    <a:lnTo>
                      <a:pt x="509" y="830"/>
                    </a:lnTo>
                    <a:lnTo>
                      <a:pt x="507" y="829"/>
                    </a:lnTo>
                    <a:lnTo>
                      <a:pt x="506" y="830"/>
                    </a:lnTo>
                    <a:lnTo>
                      <a:pt x="507" y="829"/>
                    </a:lnTo>
                    <a:lnTo>
                      <a:pt x="504" y="829"/>
                    </a:lnTo>
                    <a:lnTo>
                      <a:pt x="503" y="827"/>
                    </a:lnTo>
                    <a:lnTo>
                      <a:pt x="503" y="829"/>
                    </a:lnTo>
                    <a:lnTo>
                      <a:pt x="503" y="835"/>
                    </a:lnTo>
                    <a:lnTo>
                      <a:pt x="499" y="837"/>
                    </a:lnTo>
                    <a:lnTo>
                      <a:pt x="496" y="835"/>
                    </a:lnTo>
                    <a:lnTo>
                      <a:pt x="494" y="837"/>
                    </a:lnTo>
                    <a:lnTo>
                      <a:pt x="493" y="837"/>
                    </a:lnTo>
                    <a:lnTo>
                      <a:pt x="498" y="844"/>
                    </a:lnTo>
                    <a:lnTo>
                      <a:pt x="501" y="842"/>
                    </a:lnTo>
                    <a:lnTo>
                      <a:pt x="503" y="844"/>
                    </a:lnTo>
                    <a:lnTo>
                      <a:pt x="506" y="849"/>
                    </a:lnTo>
                    <a:lnTo>
                      <a:pt x="511" y="849"/>
                    </a:lnTo>
                    <a:lnTo>
                      <a:pt x="516" y="849"/>
                    </a:lnTo>
                    <a:close/>
                    <a:moveTo>
                      <a:pt x="517" y="832"/>
                    </a:moveTo>
                    <a:lnTo>
                      <a:pt x="516" y="832"/>
                    </a:lnTo>
                    <a:lnTo>
                      <a:pt x="519" y="834"/>
                    </a:lnTo>
                    <a:lnTo>
                      <a:pt x="517" y="832"/>
                    </a:lnTo>
                    <a:close/>
                    <a:moveTo>
                      <a:pt x="516" y="832"/>
                    </a:moveTo>
                    <a:lnTo>
                      <a:pt x="517" y="832"/>
                    </a:lnTo>
                    <a:lnTo>
                      <a:pt x="517" y="834"/>
                    </a:lnTo>
                    <a:lnTo>
                      <a:pt x="516" y="834"/>
                    </a:lnTo>
                    <a:lnTo>
                      <a:pt x="516" y="832"/>
                    </a:lnTo>
                    <a:close/>
                    <a:moveTo>
                      <a:pt x="532" y="835"/>
                    </a:moveTo>
                    <a:lnTo>
                      <a:pt x="535" y="835"/>
                    </a:lnTo>
                    <a:lnTo>
                      <a:pt x="539" y="832"/>
                    </a:lnTo>
                    <a:lnTo>
                      <a:pt x="535" y="832"/>
                    </a:lnTo>
                    <a:lnTo>
                      <a:pt x="530" y="834"/>
                    </a:lnTo>
                    <a:lnTo>
                      <a:pt x="526" y="834"/>
                    </a:lnTo>
                    <a:lnTo>
                      <a:pt x="532" y="835"/>
                    </a:lnTo>
                    <a:close/>
                    <a:moveTo>
                      <a:pt x="522" y="834"/>
                    </a:moveTo>
                    <a:lnTo>
                      <a:pt x="521" y="834"/>
                    </a:lnTo>
                    <a:lnTo>
                      <a:pt x="517" y="834"/>
                    </a:lnTo>
                    <a:lnTo>
                      <a:pt x="519" y="834"/>
                    </a:lnTo>
                    <a:lnTo>
                      <a:pt x="521" y="835"/>
                    </a:lnTo>
                    <a:lnTo>
                      <a:pt x="522" y="834"/>
                    </a:lnTo>
                    <a:close/>
                    <a:moveTo>
                      <a:pt x="514" y="834"/>
                    </a:moveTo>
                    <a:lnTo>
                      <a:pt x="516" y="834"/>
                    </a:lnTo>
                    <a:lnTo>
                      <a:pt x="514" y="834"/>
                    </a:lnTo>
                    <a:close/>
                    <a:moveTo>
                      <a:pt x="514" y="834"/>
                    </a:moveTo>
                    <a:lnTo>
                      <a:pt x="516" y="834"/>
                    </a:lnTo>
                    <a:lnTo>
                      <a:pt x="514" y="834"/>
                    </a:lnTo>
                    <a:close/>
                    <a:moveTo>
                      <a:pt x="527" y="837"/>
                    </a:moveTo>
                    <a:lnTo>
                      <a:pt x="524" y="835"/>
                    </a:lnTo>
                    <a:lnTo>
                      <a:pt x="526" y="837"/>
                    </a:lnTo>
                    <a:lnTo>
                      <a:pt x="527" y="837"/>
                    </a:lnTo>
                    <a:close/>
                    <a:moveTo>
                      <a:pt x="494" y="842"/>
                    </a:moveTo>
                    <a:lnTo>
                      <a:pt x="496" y="842"/>
                    </a:lnTo>
                    <a:lnTo>
                      <a:pt x="496" y="845"/>
                    </a:lnTo>
                    <a:lnTo>
                      <a:pt x="494" y="845"/>
                    </a:lnTo>
                    <a:lnTo>
                      <a:pt x="494" y="842"/>
                    </a:lnTo>
                    <a:close/>
                    <a:moveTo>
                      <a:pt x="501" y="844"/>
                    </a:moveTo>
                    <a:lnTo>
                      <a:pt x="499" y="844"/>
                    </a:lnTo>
                    <a:lnTo>
                      <a:pt x="498" y="845"/>
                    </a:lnTo>
                    <a:lnTo>
                      <a:pt x="501" y="844"/>
                    </a:ln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 19">
                <a:extLst>
                  <a:ext uri="{FF2B5EF4-FFF2-40B4-BE49-F238E27FC236}">
                    <a16:creationId xmlns:a16="http://schemas.microsoft.com/office/drawing/2014/main" id="{0FEA9A0B-CA77-4C13-90B7-1DB9DF9C46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9613" y="3294062"/>
                <a:ext cx="1150938" cy="1284287"/>
              </a:xfrm>
              <a:custGeom>
                <a:avLst/>
                <a:gdLst>
                  <a:gd name="T0" fmla="*/ 250 w 725"/>
                  <a:gd name="T1" fmla="*/ 788 h 809"/>
                  <a:gd name="T2" fmla="*/ 281 w 725"/>
                  <a:gd name="T3" fmla="*/ 768 h 809"/>
                  <a:gd name="T4" fmla="*/ 261 w 725"/>
                  <a:gd name="T5" fmla="*/ 721 h 809"/>
                  <a:gd name="T6" fmla="*/ 281 w 725"/>
                  <a:gd name="T7" fmla="*/ 712 h 809"/>
                  <a:gd name="T8" fmla="*/ 329 w 725"/>
                  <a:gd name="T9" fmla="*/ 729 h 809"/>
                  <a:gd name="T10" fmla="*/ 373 w 725"/>
                  <a:gd name="T11" fmla="*/ 698 h 809"/>
                  <a:gd name="T12" fmla="*/ 393 w 725"/>
                  <a:gd name="T13" fmla="*/ 704 h 809"/>
                  <a:gd name="T14" fmla="*/ 435 w 725"/>
                  <a:gd name="T15" fmla="*/ 694 h 809"/>
                  <a:gd name="T16" fmla="*/ 491 w 725"/>
                  <a:gd name="T17" fmla="*/ 707 h 809"/>
                  <a:gd name="T18" fmla="*/ 485 w 725"/>
                  <a:gd name="T19" fmla="*/ 668 h 809"/>
                  <a:gd name="T20" fmla="*/ 529 w 725"/>
                  <a:gd name="T21" fmla="*/ 665 h 809"/>
                  <a:gd name="T22" fmla="*/ 567 w 725"/>
                  <a:gd name="T23" fmla="*/ 688 h 809"/>
                  <a:gd name="T24" fmla="*/ 582 w 725"/>
                  <a:gd name="T25" fmla="*/ 725 h 809"/>
                  <a:gd name="T26" fmla="*/ 615 w 725"/>
                  <a:gd name="T27" fmla="*/ 656 h 809"/>
                  <a:gd name="T28" fmla="*/ 656 w 725"/>
                  <a:gd name="T29" fmla="*/ 647 h 809"/>
                  <a:gd name="T30" fmla="*/ 669 w 725"/>
                  <a:gd name="T31" fmla="*/ 610 h 809"/>
                  <a:gd name="T32" fmla="*/ 692 w 725"/>
                  <a:gd name="T33" fmla="*/ 576 h 809"/>
                  <a:gd name="T34" fmla="*/ 698 w 725"/>
                  <a:gd name="T35" fmla="*/ 515 h 809"/>
                  <a:gd name="T36" fmla="*/ 695 w 725"/>
                  <a:gd name="T37" fmla="*/ 451 h 809"/>
                  <a:gd name="T38" fmla="*/ 616 w 725"/>
                  <a:gd name="T39" fmla="*/ 390 h 809"/>
                  <a:gd name="T40" fmla="*/ 593 w 725"/>
                  <a:gd name="T41" fmla="*/ 341 h 809"/>
                  <a:gd name="T42" fmla="*/ 570 w 725"/>
                  <a:gd name="T43" fmla="*/ 308 h 809"/>
                  <a:gd name="T44" fmla="*/ 542 w 725"/>
                  <a:gd name="T45" fmla="*/ 282 h 809"/>
                  <a:gd name="T46" fmla="*/ 570 w 725"/>
                  <a:gd name="T47" fmla="*/ 260 h 809"/>
                  <a:gd name="T48" fmla="*/ 580 w 725"/>
                  <a:gd name="T49" fmla="*/ 232 h 809"/>
                  <a:gd name="T50" fmla="*/ 544 w 725"/>
                  <a:gd name="T51" fmla="*/ 212 h 809"/>
                  <a:gd name="T52" fmla="*/ 523 w 725"/>
                  <a:gd name="T53" fmla="*/ 209 h 809"/>
                  <a:gd name="T54" fmla="*/ 493 w 725"/>
                  <a:gd name="T55" fmla="*/ 199 h 809"/>
                  <a:gd name="T56" fmla="*/ 488 w 725"/>
                  <a:gd name="T57" fmla="*/ 171 h 809"/>
                  <a:gd name="T58" fmla="*/ 508 w 725"/>
                  <a:gd name="T59" fmla="*/ 140 h 809"/>
                  <a:gd name="T60" fmla="*/ 513 w 725"/>
                  <a:gd name="T61" fmla="*/ 109 h 809"/>
                  <a:gd name="T62" fmla="*/ 501 w 725"/>
                  <a:gd name="T63" fmla="*/ 45 h 809"/>
                  <a:gd name="T64" fmla="*/ 447 w 725"/>
                  <a:gd name="T65" fmla="*/ 0 h 809"/>
                  <a:gd name="T66" fmla="*/ 394 w 725"/>
                  <a:gd name="T67" fmla="*/ 35 h 809"/>
                  <a:gd name="T68" fmla="*/ 357 w 725"/>
                  <a:gd name="T69" fmla="*/ 73 h 809"/>
                  <a:gd name="T70" fmla="*/ 319 w 725"/>
                  <a:gd name="T71" fmla="*/ 89 h 809"/>
                  <a:gd name="T72" fmla="*/ 291 w 725"/>
                  <a:gd name="T73" fmla="*/ 135 h 809"/>
                  <a:gd name="T74" fmla="*/ 251 w 725"/>
                  <a:gd name="T75" fmla="*/ 148 h 809"/>
                  <a:gd name="T76" fmla="*/ 224 w 725"/>
                  <a:gd name="T77" fmla="*/ 148 h 809"/>
                  <a:gd name="T78" fmla="*/ 178 w 725"/>
                  <a:gd name="T79" fmla="*/ 150 h 809"/>
                  <a:gd name="T80" fmla="*/ 140 w 725"/>
                  <a:gd name="T81" fmla="*/ 173 h 809"/>
                  <a:gd name="T82" fmla="*/ 92 w 725"/>
                  <a:gd name="T83" fmla="*/ 152 h 809"/>
                  <a:gd name="T84" fmla="*/ 44 w 725"/>
                  <a:gd name="T85" fmla="*/ 186 h 809"/>
                  <a:gd name="T86" fmla="*/ 28 w 725"/>
                  <a:gd name="T87" fmla="*/ 229 h 809"/>
                  <a:gd name="T88" fmla="*/ 41 w 725"/>
                  <a:gd name="T89" fmla="*/ 259 h 809"/>
                  <a:gd name="T90" fmla="*/ 63 w 725"/>
                  <a:gd name="T91" fmla="*/ 265 h 809"/>
                  <a:gd name="T92" fmla="*/ 77 w 725"/>
                  <a:gd name="T93" fmla="*/ 280 h 809"/>
                  <a:gd name="T94" fmla="*/ 92 w 725"/>
                  <a:gd name="T95" fmla="*/ 293 h 809"/>
                  <a:gd name="T96" fmla="*/ 69 w 725"/>
                  <a:gd name="T97" fmla="*/ 323 h 809"/>
                  <a:gd name="T98" fmla="*/ 51 w 725"/>
                  <a:gd name="T99" fmla="*/ 360 h 809"/>
                  <a:gd name="T100" fmla="*/ 36 w 725"/>
                  <a:gd name="T101" fmla="*/ 408 h 809"/>
                  <a:gd name="T102" fmla="*/ 84 w 725"/>
                  <a:gd name="T103" fmla="*/ 392 h 809"/>
                  <a:gd name="T104" fmla="*/ 33 w 725"/>
                  <a:gd name="T105" fmla="*/ 430 h 809"/>
                  <a:gd name="T106" fmla="*/ 38 w 725"/>
                  <a:gd name="T107" fmla="*/ 490 h 809"/>
                  <a:gd name="T108" fmla="*/ 99 w 725"/>
                  <a:gd name="T109" fmla="*/ 510 h 809"/>
                  <a:gd name="T110" fmla="*/ 95 w 725"/>
                  <a:gd name="T111" fmla="*/ 558 h 809"/>
                  <a:gd name="T112" fmla="*/ 59 w 725"/>
                  <a:gd name="T113" fmla="*/ 579 h 809"/>
                  <a:gd name="T114" fmla="*/ 51 w 725"/>
                  <a:gd name="T115" fmla="*/ 628 h 809"/>
                  <a:gd name="T116" fmla="*/ 51 w 725"/>
                  <a:gd name="T117" fmla="*/ 683 h 809"/>
                  <a:gd name="T118" fmla="*/ 100 w 725"/>
                  <a:gd name="T119" fmla="*/ 763 h 809"/>
                  <a:gd name="T120" fmla="*/ 135 w 725"/>
                  <a:gd name="T121" fmla="*/ 760 h 809"/>
                  <a:gd name="T122" fmla="*/ 164 w 725"/>
                  <a:gd name="T123" fmla="*/ 790 h 809"/>
                  <a:gd name="T124" fmla="*/ 202 w 725"/>
                  <a:gd name="T125" fmla="*/ 806 h 8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5" h="809">
                    <a:moveTo>
                      <a:pt x="207" y="808"/>
                    </a:moveTo>
                    <a:lnTo>
                      <a:pt x="209" y="806"/>
                    </a:lnTo>
                    <a:lnTo>
                      <a:pt x="210" y="799"/>
                    </a:lnTo>
                    <a:lnTo>
                      <a:pt x="214" y="803"/>
                    </a:lnTo>
                    <a:lnTo>
                      <a:pt x="222" y="796"/>
                    </a:lnTo>
                    <a:lnTo>
                      <a:pt x="222" y="795"/>
                    </a:lnTo>
                    <a:lnTo>
                      <a:pt x="224" y="793"/>
                    </a:lnTo>
                    <a:lnTo>
                      <a:pt x="228" y="796"/>
                    </a:lnTo>
                    <a:lnTo>
                      <a:pt x="232" y="795"/>
                    </a:lnTo>
                    <a:lnTo>
                      <a:pt x="228" y="790"/>
                    </a:lnTo>
                    <a:lnTo>
                      <a:pt x="230" y="790"/>
                    </a:lnTo>
                    <a:lnTo>
                      <a:pt x="237" y="788"/>
                    </a:lnTo>
                    <a:lnTo>
                      <a:pt x="247" y="790"/>
                    </a:lnTo>
                    <a:lnTo>
                      <a:pt x="250" y="788"/>
                    </a:lnTo>
                    <a:lnTo>
                      <a:pt x="251" y="785"/>
                    </a:lnTo>
                    <a:lnTo>
                      <a:pt x="256" y="776"/>
                    </a:lnTo>
                    <a:lnTo>
                      <a:pt x="258" y="775"/>
                    </a:lnTo>
                    <a:lnTo>
                      <a:pt x="260" y="778"/>
                    </a:lnTo>
                    <a:lnTo>
                      <a:pt x="261" y="776"/>
                    </a:lnTo>
                    <a:lnTo>
                      <a:pt x="261" y="778"/>
                    </a:lnTo>
                    <a:lnTo>
                      <a:pt x="263" y="778"/>
                    </a:lnTo>
                    <a:lnTo>
                      <a:pt x="263" y="776"/>
                    </a:lnTo>
                    <a:lnTo>
                      <a:pt x="266" y="775"/>
                    </a:lnTo>
                    <a:lnTo>
                      <a:pt x="268" y="776"/>
                    </a:lnTo>
                    <a:lnTo>
                      <a:pt x="268" y="775"/>
                    </a:lnTo>
                    <a:lnTo>
                      <a:pt x="271" y="772"/>
                    </a:lnTo>
                    <a:lnTo>
                      <a:pt x="278" y="772"/>
                    </a:lnTo>
                    <a:lnTo>
                      <a:pt x="281" y="768"/>
                    </a:lnTo>
                    <a:lnTo>
                      <a:pt x="278" y="767"/>
                    </a:lnTo>
                    <a:lnTo>
                      <a:pt x="279" y="767"/>
                    </a:lnTo>
                    <a:lnTo>
                      <a:pt x="278" y="758"/>
                    </a:lnTo>
                    <a:lnTo>
                      <a:pt x="271" y="752"/>
                    </a:lnTo>
                    <a:lnTo>
                      <a:pt x="270" y="747"/>
                    </a:lnTo>
                    <a:lnTo>
                      <a:pt x="271" y="745"/>
                    </a:lnTo>
                    <a:lnTo>
                      <a:pt x="271" y="739"/>
                    </a:lnTo>
                    <a:lnTo>
                      <a:pt x="268" y="735"/>
                    </a:lnTo>
                    <a:lnTo>
                      <a:pt x="265" y="735"/>
                    </a:lnTo>
                    <a:lnTo>
                      <a:pt x="263" y="735"/>
                    </a:lnTo>
                    <a:lnTo>
                      <a:pt x="258" y="734"/>
                    </a:lnTo>
                    <a:lnTo>
                      <a:pt x="260" y="730"/>
                    </a:lnTo>
                    <a:lnTo>
                      <a:pt x="261" y="730"/>
                    </a:lnTo>
                    <a:lnTo>
                      <a:pt x="261" y="721"/>
                    </a:lnTo>
                    <a:lnTo>
                      <a:pt x="263" y="717"/>
                    </a:lnTo>
                    <a:lnTo>
                      <a:pt x="270" y="714"/>
                    </a:lnTo>
                    <a:lnTo>
                      <a:pt x="266" y="711"/>
                    </a:lnTo>
                    <a:lnTo>
                      <a:pt x="265" y="711"/>
                    </a:lnTo>
                    <a:lnTo>
                      <a:pt x="261" y="704"/>
                    </a:lnTo>
                    <a:lnTo>
                      <a:pt x="263" y="704"/>
                    </a:lnTo>
                    <a:lnTo>
                      <a:pt x="266" y="701"/>
                    </a:lnTo>
                    <a:lnTo>
                      <a:pt x="266" y="698"/>
                    </a:lnTo>
                    <a:lnTo>
                      <a:pt x="271" y="698"/>
                    </a:lnTo>
                    <a:lnTo>
                      <a:pt x="273" y="698"/>
                    </a:lnTo>
                    <a:lnTo>
                      <a:pt x="271" y="702"/>
                    </a:lnTo>
                    <a:lnTo>
                      <a:pt x="281" y="702"/>
                    </a:lnTo>
                    <a:lnTo>
                      <a:pt x="283" y="706"/>
                    </a:lnTo>
                    <a:lnTo>
                      <a:pt x="281" y="712"/>
                    </a:lnTo>
                    <a:lnTo>
                      <a:pt x="286" y="714"/>
                    </a:lnTo>
                    <a:lnTo>
                      <a:pt x="294" y="712"/>
                    </a:lnTo>
                    <a:lnTo>
                      <a:pt x="296" y="702"/>
                    </a:lnTo>
                    <a:lnTo>
                      <a:pt x="299" y="704"/>
                    </a:lnTo>
                    <a:lnTo>
                      <a:pt x="311" y="698"/>
                    </a:lnTo>
                    <a:lnTo>
                      <a:pt x="311" y="702"/>
                    </a:lnTo>
                    <a:lnTo>
                      <a:pt x="316" y="706"/>
                    </a:lnTo>
                    <a:lnTo>
                      <a:pt x="320" y="707"/>
                    </a:lnTo>
                    <a:lnTo>
                      <a:pt x="322" y="716"/>
                    </a:lnTo>
                    <a:lnTo>
                      <a:pt x="320" y="724"/>
                    </a:lnTo>
                    <a:lnTo>
                      <a:pt x="322" y="724"/>
                    </a:lnTo>
                    <a:lnTo>
                      <a:pt x="325" y="724"/>
                    </a:lnTo>
                    <a:lnTo>
                      <a:pt x="325" y="727"/>
                    </a:lnTo>
                    <a:lnTo>
                      <a:pt x="329" y="729"/>
                    </a:lnTo>
                    <a:lnTo>
                      <a:pt x="334" y="727"/>
                    </a:lnTo>
                    <a:lnTo>
                      <a:pt x="340" y="729"/>
                    </a:lnTo>
                    <a:lnTo>
                      <a:pt x="345" y="729"/>
                    </a:lnTo>
                    <a:lnTo>
                      <a:pt x="357" y="712"/>
                    </a:lnTo>
                    <a:lnTo>
                      <a:pt x="363" y="712"/>
                    </a:lnTo>
                    <a:lnTo>
                      <a:pt x="370" y="716"/>
                    </a:lnTo>
                    <a:lnTo>
                      <a:pt x="371" y="714"/>
                    </a:lnTo>
                    <a:lnTo>
                      <a:pt x="371" y="711"/>
                    </a:lnTo>
                    <a:lnTo>
                      <a:pt x="373" y="712"/>
                    </a:lnTo>
                    <a:lnTo>
                      <a:pt x="376" y="712"/>
                    </a:lnTo>
                    <a:lnTo>
                      <a:pt x="376" y="707"/>
                    </a:lnTo>
                    <a:lnTo>
                      <a:pt x="370" y="702"/>
                    </a:lnTo>
                    <a:lnTo>
                      <a:pt x="368" y="699"/>
                    </a:lnTo>
                    <a:lnTo>
                      <a:pt x="373" y="698"/>
                    </a:lnTo>
                    <a:lnTo>
                      <a:pt x="371" y="686"/>
                    </a:lnTo>
                    <a:lnTo>
                      <a:pt x="375" y="683"/>
                    </a:lnTo>
                    <a:lnTo>
                      <a:pt x="380" y="681"/>
                    </a:lnTo>
                    <a:lnTo>
                      <a:pt x="393" y="686"/>
                    </a:lnTo>
                    <a:lnTo>
                      <a:pt x="394" y="691"/>
                    </a:lnTo>
                    <a:lnTo>
                      <a:pt x="391" y="693"/>
                    </a:lnTo>
                    <a:lnTo>
                      <a:pt x="386" y="694"/>
                    </a:lnTo>
                    <a:lnTo>
                      <a:pt x="381" y="707"/>
                    </a:lnTo>
                    <a:lnTo>
                      <a:pt x="385" y="707"/>
                    </a:lnTo>
                    <a:lnTo>
                      <a:pt x="386" y="709"/>
                    </a:lnTo>
                    <a:lnTo>
                      <a:pt x="385" y="711"/>
                    </a:lnTo>
                    <a:lnTo>
                      <a:pt x="386" y="711"/>
                    </a:lnTo>
                    <a:lnTo>
                      <a:pt x="388" y="707"/>
                    </a:lnTo>
                    <a:lnTo>
                      <a:pt x="393" y="704"/>
                    </a:lnTo>
                    <a:lnTo>
                      <a:pt x="393" y="702"/>
                    </a:lnTo>
                    <a:lnTo>
                      <a:pt x="396" y="702"/>
                    </a:lnTo>
                    <a:lnTo>
                      <a:pt x="401" y="702"/>
                    </a:lnTo>
                    <a:lnTo>
                      <a:pt x="404" y="704"/>
                    </a:lnTo>
                    <a:lnTo>
                      <a:pt x="412" y="702"/>
                    </a:lnTo>
                    <a:lnTo>
                      <a:pt x="414" y="704"/>
                    </a:lnTo>
                    <a:lnTo>
                      <a:pt x="416" y="706"/>
                    </a:lnTo>
                    <a:lnTo>
                      <a:pt x="417" y="709"/>
                    </a:lnTo>
                    <a:lnTo>
                      <a:pt x="419" y="709"/>
                    </a:lnTo>
                    <a:lnTo>
                      <a:pt x="421" y="707"/>
                    </a:lnTo>
                    <a:lnTo>
                      <a:pt x="421" y="706"/>
                    </a:lnTo>
                    <a:lnTo>
                      <a:pt x="424" y="704"/>
                    </a:lnTo>
                    <a:lnTo>
                      <a:pt x="426" y="701"/>
                    </a:lnTo>
                    <a:lnTo>
                      <a:pt x="435" y="694"/>
                    </a:lnTo>
                    <a:lnTo>
                      <a:pt x="435" y="696"/>
                    </a:lnTo>
                    <a:lnTo>
                      <a:pt x="440" y="689"/>
                    </a:lnTo>
                    <a:lnTo>
                      <a:pt x="450" y="689"/>
                    </a:lnTo>
                    <a:lnTo>
                      <a:pt x="452" y="689"/>
                    </a:lnTo>
                    <a:lnTo>
                      <a:pt x="454" y="693"/>
                    </a:lnTo>
                    <a:lnTo>
                      <a:pt x="457" y="693"/>
                    </a:lnTo>
                    <a:lnTo>
                      <a:pt x="458" y="693"/>
                    </a:lnTo>
                    <a:lnTo>
                      <a:pt x="460" y="689"/>
                    </a:lnTo>
                    <a:lnTo>
                      <a:pt x="462" y="691"/>
                    </a:lnTo>
                    <a:lnTo>
                      <a:pt x="465" y="684"/>
                    </a:lnTo>
                    <a:lnTo>
                      <a:pt x="470" y="689"/>
                    </a:lnTo>
                    <a:lnTo>
                      <a:pt x="483" y="701"/>
                    </a:lnTo>
                    <a:lnTo>
                      <a:pt x="483" y="702"/>
                    </a:lnTo>
                    <a:lnTo>
                      <a:pt x="491" y="707"/>
                    </a:lnTo>
                    <a:lnTo>
                      <a:pt x="493" y="706"/>
                    </a:lnTo>
                    <a:lnTo>
                      <a:pt x="491" y="698"/>
                    </a:lnTo>
                    <a:lnTo>
                      <a:pt x="496" y="693"/>
                    </a:lnTo>
                    <a:lnTo>
                      <a:pt x="495" y="691"/>
                    </a:lnTo>
                    <a:lnTo>
                      <a:pt x="495" y="688"/>
                    </a:lnTo>
                    <a:lnTo>
                      <a:pt x="491" y="686"/>
                    </a:lnTo>
                    <a:lnTo>
                      <a:pt x="488" y="684"/>
                    </a:lnTo>
                    <a:lnTo>
                      <a:pt x="483" y="679"/>
                    </a:lnTo>
                    <a:lnTo>
                      <a:pt x="483" y="674"/>
                    </a:lnTo>
                    <a:lnTo>
                      <a:pt x="481" y="673"/>
                    </a:lnTo>
                    <a:lnTo>
                      <a:pt x="480" y="673"/>
                    </a:lnTo>
                    <a:lnTo>
                      <a:pt x="480" y="670"/>
                    </a:lnTo>
                    <a:lnTo>
                      <a:pt x="480" y="668"/>
                    </a:lnTo>
                    <a:lnTo>
                      <a:pt x="485" y="668"/>
                    </a:lnTo>
                    <a:lnTo>
                      <a:pt x="486" y="670"/>
                    </a:lnTo>
                    <a:lnTo>
                      <a:pt x="488" y="665"/>
                    </a:lnTo>
                    <a:lnTo>
                      <a:pt x="493" y="670"/>
                    </a:lnTo>
                    <a:lnTo>
                      <a:pt x="498" y="661"/>
                    </a:lnTo>
                    <a:lnTo>
                      <a:pt x="500" y="666"/>
                    </a:lnTo>
                    <a:lnTo>
                      <a:pt x="503" y="656"/>
                    </a:lnTo>
                    <a:lnTo>
                      <a:pt x="506" y="653"/>
                    </a:lnTo>
                    <a:lnTo>
                      <a:pt x="508" y="653"/>
                    </a:lnTo>
                    <a:lnTo>
                      <a:pt x="508" y="650"/>
                    </a:lnTo>
                    <a:lnTo>
                      <a:pt x="516" y="647"/>
                    </a:lnTo>
                    <a:lnTo>
                      <a:pt x="521" y="655"/>
                    </a:lnTo>
                    <a:lnTo>
                      <a:pt x="526" y="658"/>
                    </a:lnTo>
                    <a:lnTo>
                      <a:pt x="529" y="653"/>
                    </a:lnTo>
                    <a:lnTo>
                      <a:pt x="529" y="665"/>
                    </a:lnTo>
                    <a:lnTo>
                      <a:pt x="529" y="670"/>
                    </a:lnTo>
                    <a:lnTo>
                      <a:pt x="536" y="673"/>
                    </a:lnTo>
                    <a:lnTo>
                      <a:pt x="536" y="668"/>
                    </a:lnTo>
                    <a:lnTo>
                      <a:pt x="539" y="670"/>
                    </a:lnTo>
                    <a:lnTo>
                      <a:pt x="537" y="676"/>
                    </a:lnTo>
                    <a:lnTo>
                      <a:pt x="541" y="679"/>
                    </a:lnTo>
                    <a:lnTo>
                      <a:pt x="544" y="679"/>
                    </a:lnTo>
                    <a:lnTo>
                      <a:pt x="542" y="688"/>
                    </a:lnTo>
                    <a:lnTo>
                      <a:pt x="550" y="689"/>
                    </a:lnTo>
                    <a:lnTo>
                      <a:pt x="552" y="691"/>
                    </a:lnTo>
                    <a:lnTo>
                      <a:pt x="554" y="693"/>
                    </a:lnTo>
                    <a:lnTo>
                      <a:pt x="555" y="691"/>
                    </a:lnTo>
                    <a:lnTo>
                      <a:pt x="557" y="691"/>
                    </a:lnTo>
                    <a:lnTo>
                      <a:pt x="567" y="688"/>
                    </a:lnTo>
                    <a:lnTo>
                      <a:pt x="569" y="691"/>
                    </a:lnTo>
                    <a:lnTo>
                      <a:pt x="569" y="693"/>
                    </a:lnTo>
                    <a:lnTo>
                      <a:pt x="569" y="694"/>
                    </a:lnTo>
                    <a:lnTo>
                      <a:pt x="565" y="694"/>
                    </a:lnTo>
                    <a:lnTo>
                      <a:pt x="562" y="699"/>
                    </a:lnTo>
                    <a:lnTo>
                      <a:pt x="559" y="706"/>
                    </a:lnTo>
                    <a:lnTo>
                      <a:pt x="557" y="707"/>
                    </a:lnTo>
                    <a:lnTo>
                      <a:pt x="550" y="714"/>
                    </a:lnTo>
                    <a:lnTo>
                      <a:pt x="552" y="717"/>
                    </a:lnTo>
                    <a:lnTo>
                      <a:pt x="562" y="725"/>
                    </a:lnTo>
                    <a:lnTo>
                      <a:pt x="570" y="735"/>
                    </a:lnTo>
                    <a:lnTo>
                      <a:pt x="578" y="727"/>
                    </a:lnTo>
                    <a:lnTo>
                      <a:pt x="575" y="724"/>
                    </a:lnTo>
                    <a:lnTo>
                      <a:pt x="582" y="725"/>
                    </a:lnTo>
                    <a:lnTo>
                      <a:pt x="588" y="724"/>
                    </a:lnTo>
                    <a:lnTo>
                      <a:pt x="593" y="722"/>
                    </a:lnTo>
                    <a:lnTo>
                      <a:pt x="590" y="716"/>
                    </a:lnTo>
                    <a:lnTo>
                      <a:pt x="595" y="712"/>
                    </a:lnTo>
                    <a:lnTo>
                      <a:pt x="600" y="716"/>
                    </a:lnTo>
                    <a:lnTo>
                      <a:pt x="601" y="712"/>
                    </a:lnTo>
                    <a:lnTo>
                      <a:pt x="606" y="696"/>
                    </a:lnTo>
                    <a:lnTo>
                      <a:pt x="611" y="676"/>
                    </a:lnTo>
                    <a:lnTo>
                      <a:pt x="610" y="674"/>
                    </a:lnTo>
                    <a:lnTo>
                      <a:pt x="610" y="670"/>
                    </a:lnTo>
                    <a:lnTo>
                      <a:pt x="613" y="666"/>
                    </a:lnTo>
                    <a:lnTo>
                      <a:pt x="611" y="663"/>
                    </a:lnTo>
                    <a:lnTo>
                      <a:pt x="615" y="660"/>
                    </a:lnTo>
                    <a:lnTo>
                      <a:pt x="615" y="656"/>
                    </a:lnTo>
                    <a:lnTo>
                      <a:pt x="616" y="656"/>
                    </a:lnTo>
                    <a:lnTo>
                      <a:pt x="618" y="653"/>
                    </a:lnTo>
                    <a:lnTo>
                      <a:pt x="621" y="655"/>
                    </a:lnTo>
                    <a:lnTo>
                      <a:pt x="628" y="655"/>
                    </a:lnTo>
                    <a:lnTo>
                      <a:pt x="626" y="647"/>
                    </a:lnTo>
                    <a:lnTo>
                      <a:pt x="628" y="645"/>
                    </a:lnTo>
                    <a:lnTo>
                      <a:pt x="636" y="643"/>
                    </a:lnTo>
                    <a:lnTo>
                      <a:pt x="644" y="648"/>
                    </a:lnTo>
                    <a:lnTo>
                      <a:pt x="651" y="656"/>
                    </a:lnTo>
                    <a:lnTo>
                      <a:pt x="654" y="653"/>
                    </a:lnTo>
                    <a:lnTo>
                      <a:pt x="657" y="653"/>
                    </a:lnTo>
                    <a:lnTo>
                      <a:pt x="661" y="653"/>
                    </a:lnTo>
                    <a:lnTo>
                      <a:pt x="659" y="648"/>
                    </a:lnTo>
                    <a:lnTo>
                      <a:pt x="656" y="647"/>
                    </a:lnTo>
                    <a:lnTo>
                      <a:pt x="656" y="643"/>
                    </a:lnTo>
                    <a:lnTo>
                      <a:pt x="647" y="643"/>
                    </a:lnTo>
                    <a:lnTo>
                      <a:pt x="651" y="637"/>
                    </a:lnTo>
                    <a:lnTo>
                      <a:pt x="657" y="632"/>
                    </a:lnTo>
                    <a:lnTo>
                      <a:pt x="661" y="633"/>
                    </a:lnTo>
                    <a:lnTo>
                      <a:pt x="662" y="633"/>
                    </a:lnTo>
                    <a:lnTo>
                      <a:pt x="664" y="633"/>
                    </a:lnTo>
                    <a:lnTo>
                      <a:pt x="662" y="630"/>
                    </a:lnTo>
                    <a:lnTo>
                      <a:pt x="665" y="628"/>
                    </a:lnTo>
                    <a:lnTo>
                      <a:pt x="665" y="624"/>
                    </a:lnTo>
                    <a:lnTo>
                      <a:pt x="667" y="620"/>
                    </a:lnTo>
                    <a:lnTo>
                      <a:pt x="669" y="620"/>
                    </a:lnTo>
                    <a:lnTo>
                      <a:pt x="669" y="614"/>
                    </a:lnTo>
                    <a:lnTo>
                      <a:pt x="669" y="610"/>
                    </a:lnTo>
                    <a:lnTo>
                      <a:pt x="672" y="607"/>
                    </a:lnTo>
                    <a:lnTo>
                      <a:pt x="674" y="607"/>
                    </a:lnTo>
                    <a:lnTo>
                      <a:pt x="675" y="602"/>
                    </a:lnTo>
                    <a:lnTo>
                      <a:pt x="687" y="601"/>
                    </a:lnTo>
                    <a:lnTo>
                      <a:pt x="687" y="599"/>
                    </a:lnTo>
                    <a:lnTo>
                      <a:pt x="697" y="597"/>
                    </a:lnTo>
                    <a:lnTo>
                      <a:pt x="695" y="589"/>
                    </a:lnTo>
                    <a:lnTo>
                      <a:pt x="693" y="587"/>
                    </a:lnTo>
                    <a:lnTo>
                      <a:pt x="688" y="582"/>
                    </a:lnTo>
                    <a:lnTo>
                      <a:pt x="690" y="581"/>
                    </a:lnTo>
                    <a:lnTo>
                      <a:pt x="688" y="579"/>
                    </a:lnTo>
                    <a:lnTo>
                      <a:pt x="685" y="574"/>
                    </a:lnTo>
                    <a:lnTo>
                      <a:pt x="687" y="574"/>
                    </a:lnTo>
                    <a:lnTo>
                      <a:pt x="692" y="576"/>
                    </a:lnTo>
                    <a:lnTo>
                      <a:pt x="692" y="573"/>
                    </a:lnTo>
                    <a:lnTo>
                      <a:pt x="695" y="569"/>
                    </a:lnTo>
                    <a:lnTo>
                      <a:pt x="697" y="568"/>
                    </a:lnTo>
                    <a:lnTo>
                      <a:pt x="702" y="568"/>
                    </a:lnTo>
                    <a:lnTo>
                      <a:pt x="703" y="566"/>
                    </a:lnTo>
                    <a:lnTo>
                      <a:pt x="708" y="561"/>
                    </a:lnTo>
                    <a:lnTo>
                      <a:pt x="710" y="558"/>
                    </a:lnTo>
                    <a:lnTo>
                      <a:pt x="707" y="546"/>
                    </a:lnTo>
                    <a:lnTo>
                      <a:pt x="703" y="545"/>
                    </a:lnTo>
                    <a:lnTo>
                      <a:pt x="711" y="530"/>
                    </a:lnTo>
                    <a:lnTo>
                      <a:pt x="698" y="527"/>
                    </a:lnTo>
                    <a:lnTo>
                      <a:pt x="692" y="523"/>
                    </a:lnTo>
                    <a:lnTo>
                      <a:pt x="695" y="517"/>
                    </a:lnTo>
                    <a:lnTo>
                      <a:pt x="698" y="515"/>
                    </a:lnTo>
                    <a:lnTo>
                      <a:pt x="702" y="513"/>
                    </a:lnTo>
                    <a:lnTo>
                      <a:pt x="707" y="510"/>
                    </a:lnTo>
                    <a:lnTo>
                      <a:pt x="708" y="510"/>
                    </a:lnTo>
                    <a:lnTo>
                      <a:pt x="711" y="510"/>
                    </a:lnTo>
                    <a:lnTo>
                      <a:pt x="716" y="508"/>
                    </a:lnTo>
                    <a:lnTo>
                      <a:pt x="718" y="510"/>
                    </a:lnTo>
                    <a:lnTo>
                      <a:pt x="721" y="507"/>
                    </a:lnTo>
                    <a:lnTo>
                      <a:pt x="723" y="507"/>
                    </a:lnTo>
                    <a:lnTo>
                      <a:pt x="725" y="503"/>
                    </a:lnTo>
                    <a:lnTo>
                      <a:pt x="725" y="502"/>
                    </a:lnTo>
                    <a:lnTo>
                      <a:pt x="715" y="484"/>
                    </a:lnTo>
                    <a:lnTo>
                      <a:pt x="703" y="461"/>
                    </a:lnTo>
                    <a:lnTo>
                      <a:pt x="702" y="461"/>
                    </a:lnTo>
                    <a:lnTo>
                      <a:pt x="695" y="451"/>
                    </a:lnTo>
                    <a:lnTo>
                      <a:pt x="688" y="441"/>
                    </a:lnTo>
                    <a:lnTo>
                      <a:pt x="679" y="428"/>
                    </a:lnTo>
                    <a:lnTo>
                      <a:pt x="672" y="423"/>
                    </a:lnTo>
                    <a:lnTo>
                      <a:pt x="664" y="418"/>
                    </a:lnTo>
                    <a:lnTo>
                      <a:pt x="662" y="418"/>
                    </a:lnTo>
                    <a:lnTo>
                      <a:pt x="652" y="411"/>
                    </a:lnTo>
                    <a:lnTo>
                      <a:pt x="647" y="408"/>
                    </a:lnTo>
                    <a:lnTo>
                      <a:pt x="639" y="403"/>
                    </a:lnTo>
                    <a:lnTo>
                      <a:pt x="639" y="402"/>
                    </a:lnTo>
                    <a:lnTo>
                      <a:pt x="636" y="402"/>
                    </a:lnTo>
                    <a:lnTo>
                      <a:pt x="636" y="400"/>
                    </a:lnTo>
                    <a:lnTo>
                      <a:pt x="628" y="395"/>
                    </a:lnTo>
                    <a:lnTo>
                      <a:pt x="624" y="393"/>
                    </a:lnTo>
                    <a:lnTo>
                      <a:pt x="616" y="390"/>
                    </a:lnTo>
                    <a:lnTo>
                      <a:pt x="610" y="387"/>
                    </a:lnTo>
                    <a:lnTo>
                      <a:pt x="601" y="383"/>
                    </a:lnTo>
                    <a:lnTo>
                      <a:pt x="601" y="380"/>
                    </a:lnTo>
                    <a:lnTo>
                      <a:pt x="601" y="377"/>
                    </a:lnTo>
                    <a:lnTo>
                      <a:pt x="598" y="374"/>
                    </a:lnTo>
                    <a:lnTo>
                      <a:pt x="596" y="372"/>
                    </a:lnTo>
                    <a:lnTo>
                      <a:pt x="593" y="370"/>
                    </a:lnTo>
                    <a:lnTo>
                      <a:pt x="588" y="369"/>
                    </a:lnTo>
                    <a:lnTo>
                      <a:pt x="592" y="357"/>
                    </a:lnTo>
                    <a:lnTo>
                      <a:pt x="587" y="352"/>
                    </a:lnTo>
                    <a:lnTo>
                      <a:pt x="587" y="347"/>
                    </a:lnTo>
                    <a:lnTo>
                      <a:pt x="585" y="346"/>
                    </a:lnTo>
                    <a:lnTo>
                      <a:pt x="588" y="344"/>
                    </a:lnTo>
                    <a:lnTo>
                      <a:pt x="593" y="341"/>
                    </a:lnTo>
                    <a:lnTo>
                      <a:pt x="595" y="339"/>
                    </a:lnTo>
                    <a:lnTo>
                      <a:pt x="595" y="334"/>
                    </a:lnTo>
                    <a:lnTo>
                      <a:pt x="593" y="334"/>
                    </a:lnTo>
                    <a:lnTo>
                      <a:pt x="592" y="328"/>
                    </a:lnTo>
                    <a:lnTo>
                      <a:pt x="585" y="323"/>
                    </a:lnTo>
                    <a:lnTo>
                      <a:pt x="585" y="321"/>
                    </a:lnTo>
                    <a:lnTo>
                      <a:pt x="585" y="319"/>
                    </a:lnTo>
                    <a:lnTo>
                      <a:pt x="585" y="321"/>
                    </a:lnTo>
                    <a:lnTo>
                      <a:pt x="583" y="321"/>
                    </a:lnTo>
                    <a:lnTo>
                      <a:pt x="578" y="316"/>
                    </a:lnTo>
                    <a:lnTo>
                      <a:pt x="580" y="311"/>
                    </a:lnTo>
                    <a:lnTo>
                      <a:pt x="575" y="308"/>
                    </a:lnTo>
                    <a:lnTo>
                      <a:pt x="573" y="309"/>
                    </a:lnTo>
                    <a:lnTo>
                      <a:pt x="570" y="308"/>
                    </a:lnTo>
                    <a:lnTo>
                      <a:pt x="565" y="309"/>
                    </a:lnTo>
                    <a:lnTo>
                      <a:pt x="562" y="306"/>
                    </a:lnTo>
                    <a:lnTo>
                      <a:pt x="562" y="308"/>
                    </a:lnTo>
                    <a:lnTo>
                      <a:pt x="555" y="308"/>
                    </a:lnTo>
                    <a:lnTo>
                      <a:pt x="555" y="303"/>
                    </a:lnTo>
                    <a:lnTo>
                      <a:pt x="554" y="300"/>
                    </a:lnTo>
                    <a:lnTo>
                      <a:pt x="555" y="295"/>
                    </a:lnTo>
                    <a:lnTo>
                      <a:pt x="549" y="293"/>
                    </a:lnTo>
                    <a:lnTo>
                      <a:pt x="547" y="291"/>
                    </a:lnTo>
                    <a:lnTo>
                      <a:pt x="541" y="291"/>
                    </a:lnTo>
                    <a:lnTo>
                      <a:pt x="539" y="290"/>
                    </a:lnTo>
                    <a:lnTo>
                      <a:pt x="541" y="288"/>
                    </a:lnTo>
                    <a:lnTo>
                      <a:pt x="541" y="283"/>
                    </a:lnTo>
                    <a:lnTo>
                      <a:pt x="542" y="282"/>
                    </a:lnTo>
                    <a:lnTo>
                      <a:pt x="541" y="277"/>
                    </a:lnTo>
                    <a:lnTo>
                      <a:pt x="544" y="273"/>
                    </a:lnTo>
                    <a:lnTo>
                      <a:pt x="546" y="268"/>
                    </a:lnTo>
                    <a:lnTo>
                      <a:pt x="550" y="265"/>
                    </a:lnTo>
                    <a:lnTo>
                      <a:pt x="550" y="260"/>
                    </a:lnTo>
                    <a:lnTo>
                      <a:pt x="552" y="259"/>
                    </a:lnTo>
                    <a:lnTo>
                      <a:pt x="555" y="262"/>
                    </a:lnTo>
                    <a:lnTo>
                      <a:pt x="557" y="262"/>
                    </a:lnTo>
                    <a:lnTo>
                      <a:pt x="562" y="257"/>
                    </a:lnTo>
                    <a:lnTo>
                      <a:pt x="562" y="259"/>
                    </a:lnTo>
                    <a:lnTo>
                      <a:pt x="565" y="262"/>
                    </a:lnTo>
                    <a:lnTo>
                      <a:pt x="567" y="260"/>
                    </a:lnTo>
                    <a:lnTo>
                      <a:pt x="569" y="259"/>
                    </a:lnTo>
                    <a:lnTo>
                      <a:pt x="570" y="260"/>
                    </a:lnTo>
                    <a:lnTo>
                      <a:pt x="572" y="259"/>
                    </a:lnTo>
                    <a:lnTo>
                      <a:pt x="570" y="259"/>
                    </a:lnTo>
                    <a:lnTo>
                      <a:pt x="570" y="255"/>
                    </a:lnTo>
                    <a:lnTo>
                      <a:pt x="572" y="255"/>
                    </a:lnTo>
                    <a:lnTo>
                      <a:pt x="575" y="254"/>
                    </a:lnTo>
                    <a:lnTo>
                      <a:pt x="573" y="252"/>
                    </a:lnTo>
                    <a:lnTo>
                      <a:pt x="578" y="250"/>
                    </a:lnTo>
                    <a:lnTo>
                      <a:pt x="578" y="245"/>
                    </a:lnTo>
                    <a:lnTo>
                      <a:pt x="575" y="244"/>
                    </a:lnTo>
                    <a:lnTo>
                      <a:pt x="572" y="240"/>
                    </a:lnTo>
                    <a:lnTo>
                      <a:pt x="572" y="237"/>
                    </a:lnTo>
                    <a:lnTo>
                      <a:pt x="573" y="234"/>
                    </a:lnTo>
                    <a:lnTo>
                      <a:pt x="578" y="234"/>
                    </a:lnTo>
                    <a:lnTo>
                      <a:pt x="580" y="232"/>
                    </a:lnTo>
                    <a:lnTo>
                      <a:pt x="578" y="232"/>
                    </a:lnTo>
                    <a:lnTo>
                      <a:pt x="578" y="229"/>
                    </a:lnTo>
                    <a:lnTo>
                      <a:pt x="575" y="227"/>
                    </a:lnTo>
                    <a:lnTo>
                      <a:pt x="573" y="227"/>
                    </a:lnTo>
                    <a:lnTo>
                      <a:pt x="569" y="222"/>
                    </a:lnTo>
                    <a:lnTo>
                      <a:pt x="565" y="219"/>
                    </a:lnTo>
                    <a:lnTo>
                      <a:pt x="562" y="219"/>
                    </a:lnTo>
                    <a:lnTo>
                      <a:pt x="557" y="217"/>
                    </a:lnTo>
                    <a:lnTo>
                      <a:pt x="554" y="217"/>
                    </a:lnTo>
                    <a:lnTo>
                      <a:pt x="552" y="216"/>
                    </a:lnTo>
                    <a:lnTo>
                      <a:pt x="549" y="214"/>
                    </a:lnTo>
                    <a:lnTo>
                      <a:pt x="546" y="214"/>
                    </a:lnTo>
                    <a:lnTo>
                      <a:pt x="544" y="214"/>
                    </a:lnTo>
                    <a:lnTo>
                      <a:pt x="544" y="212"/>
                    </a:lnTo>
                    <a:lnTo>
                      <a:pt x="539" y="214"/>
                    </a:lnTo>
                    <a:lnTo>
                      <a:pt x="539" y="211"/>
                    </a:lnTo>
                    <a:lnTo>
                      <a:pt x="536" y="211"/>
                    </a:lnTo>
                    <a:lnTo>
                      <a:pt x="534" y="212"/>
                    </a:lnTo>
                    <a:lnTo>
                      <a:pt x="534" y="214"/>
                    </a:lnTo>
                    <a:lnTo>
                      <a:pt x="532" y="212"/>
                    </a:lnTo>
                    <a:lnTo>
                      <a:pt x="531" y="216"/>
                    </a:lnTo>
                    <a:lnTo>
                      <a:pt x="531" y="212"/>
                    </a:lnTo>
                    <a:lnTo>
                      <a:pt x="526" y="212"/>
                    </a:lnTo>
                    <a:lnTo>
                      <a:pt x="526" y="211"/>
                    </a:lnTo>
                    <a:lnTo>
                      <a:pt x="524" y="211"/>
                    </a:lnTo>
                    <a:lnTo>
                      <a:pt x="523" y="211"/>
                    </a:lnTo>
                    <a:lnTo>
                      <a:pt x="524" y="209"/>
                    </a:lnTo>
                    <a:lnTo>
                      <a:pt x="523" y="209"/>
                    </a:lnTo>
                    <a:lnTo>
                      <a:pt x="521" y="209"/>
                    </a:lnTo>
                    <a:lnTo>
                      <a:pt x="523" y="208"/>
                    </a:lnTo>
                    <a:lnTo>
                      <a:pt x="519" y="204"/>
                    </a:lnTo>
                    <a:lnTo>
                      <a:pt x="514" y="204"/>
                    </a:lnTo>
                    <a:lnTo>
                      <a:pt x="513" y="201"/>
                    </a:lnTo>
                    <a:lnTo>
                      <a:pt x="511" y="201"/>
                    </a:lnTo>
                    <a:lnTo>
                      <a:pt x="509" y="203"/>
                    </a:lnTo>
                    <a:lnTo>
                      <a:pt x="504" y="199"/>
                    </a:lnTo>
                    <a:lnTo>
                      <a:pt x="501" y="203"/>
                    </a:lnTo>
                    <a:lnTo>
                      <a:pt x="498" y="203"/>
                    </a:lnTo>
                    <a:lnTo>
                      <a:pt x="496" y="201"/>
                    </a:lnTo>
                    <a:lnTo>
                      <a:pt x="496" y="199"/>
                    </a:lnTo>
                    <a:lnTo>
                      <a:pt x="495" y="201"/>
                    </a:lnTo>
                    <a:lnTo>
                      <a:pt x="493" y="199"/>
                    </a:lnTo>
                    <a:lnTo>
                      <a:pt x="493" y="194"/>
                    </a:lnTo>
                    <a:lnTo>
                      <a:pt x="495" y="194"/>
                    </a:lnTo>
                    <a:lnTo>
                      <a:pt x="493" y="191"/>
                    </a:lnTo>
                    <a:lnTo>
                      <a:pt x="490" y="188"/>
                    </a:lnTo>
                    <a:lnTo>
                      <a:pt x="488" y="186"/>
                    </a:lnTo>
                    <a:lnTo>
                      <a:pt x="490" y="185"/>
                    </a:lnTo>
                    <a:lnTo>
                      <a:pt x="488" y="185"/>
                    </a:lnTo>
                    <a:lnTo>
                      <a:pt x="488" y="181"/>
                    </a:lnTo>
                    <a:lnTo>
                      <a:pt x="488" y="180"/>
                    </a:lnTo>
                    <a:lnTo>
                      <a:pt x="485" y="180"/>
                    </a:lnTo>
                    <a:lnTo>
                      <a:pt x="485" y="178"/>
                    </a:lnTo>
                    <a:lnTo>
                      <a:pt x="486" y="173"/>
                    </a:lnTo>
                    <a:lnTo>
                      <a:pt x="488" y="173"/>
                    </a:lnTo>
                    <a:lnTo>
                      <a:pt x="488" y="171"/>
                    </a:lnTo>
                    <a:lnTo>
                      <a:pt x="491" y="168"/>
                    </a:lnTo>
                    <a:lnTo>
                      <a:pt x="493" y="168"/>
                    </a:lnTo>
                    <a:lnTo>
                      <a:pt x="493" y="165"/>
                    </a:lnTo>
                    <a:lnTo>
                      <a:pt x="495" y="163"/>
                    </a:lnTo>
                    <a:lnTo>
                      <a:pt x="493" y="160"/>
                    </a:lnTo>
                    <a:lnTo>
                      <a:pt x="496" y="155"/>
                    </a:lnTo>
                    <a:lnTo>
                      <a:pt x="495" y="152"/>
                    </a:lnTo>
                    <a:lnTo>
                      <a:pt x="496" y="147"/>
                    </a:lnTo>
                    <a:lnTo>
                      <a:pt x="498" y="145"/>
                    </a:lnTo>
                    <a:lnTo>
                      <a:pt x="500" y="145"/>
                    </a:lnTo>
                    <a:lnTo>
                      <a:pt x="503" y="145"/>
                    </a:lnTo>
                    <a:lnTo>
                      <a:pt x="503" y="142"/>
                    </a:lnTo>
                    <a:lnTo>
                      <a:pt x="506" y="142"/>
                    </a:lnTo>
                    <a:lnTo>
                      <a:pt x="508" y="140"/>
                    </a:lnTo>
                    <a:lnTo>
                      <a:pt x="509" y="140"/>
                    </a:lnTo>
                    <a:lnTo>
                      <a:pt x="508" y="137"/>
                    </a:lnTo>
                    <a:lnTo>
                      <a:pt x="518" y="134"/>
                    </a:lnTo>
                    <a:lnTo>
                      <a:pt x="516" y="129"/>
                    </a:lnTo>
                    <a:lnTo>
                      <a:pt x="518" y="127"/>
                    </a:lnTo>
                    <a:lnTo>
                      <a:pt x="518" y="125"/>
                    </a:lnTo>
                    <a:lnTo>
                      <a:pt x="519" y="124"/>
                    </a:lnTo>
                    <a:lnTo>
                      <a:pt x="519" y="122"/>
                    </a:lnTo>
                    <a:lnTo>
                      <a:pt x="518" y="120"/>
                    </a:lnTo>
                    <a:lnTo>
                      <a:pt x="519" y="117"/>
                    </a:lnTo>
                    <a:lnTo>
                      <a:pt x="518" y="114"/>
                    </a:lnTo>
                    <a:lnTo>
                      <a:pt x="519" y="111"/>
                    </a:lnTo>
                    <a:lnTo>
                      <a:pt x="516" y="107"/>
                    </a:lnTo>
                    <a:lnTo>
                      <a:pt x="513" y="109"/>
                    </a:lnTo>
                    <a:lnTo>
                      <a:pt x="513" y="107"/>
                    </a:lnTo>
                    <a:lnTo>
                      <a:pt x="509" y="101"/>
                    </a:lnTo>
                    <a:lnTo>
                      <a:pt x="513" y="99"/>
                    </a:lnTo>
                    <a:lnTo>
                      <a:pt x="509" y="96"/>
                    </a:lnTo>
                    <a:lnTo>
                      <a:pt x="508" y="79"/>
                    </a:lnTo>
                    <a:lnTo>
                      <a:pt x="511" y="79"/>
                    </a:lnTo>
                    <a:lnTo>
                      <a:pt x="511" y="73"/>
                    </a:lnTo>
                    <a:lnTo>
                      <a:pt x="508" y="69"/>
                    </a:lnTo>
                    <a:lnTo>
                      <a:pt x="504" y="66"/>
                    </a:lnTo>
                    <a:lnTo>
                      <a:pt x="500" y="56"/>
                    </a:lnTo>
                    <a:lnTo>
                      <a:pt x="500" y="55"/>
                    </a:lnTo>
                    <a:lnTo>
                      <a:pt x="496" y="53"/>
                    </a:lnTo>
                    <a:lnTo>
                      <a:pt x="500" y="46"/>
                    </a:lnTo>
                    <a:lnTo>
                      <a:pt x="501" y="45"/>
                    </a:lnTo>
                    <a:lnTo>
                      <a:pt x="500" y="41"/>
                    </a:lnTo>
                    <a:lnTo>
                      <a:pt x="500" y="40"/>
                    </a:lnTo>
                    <a:lnTo>
                      <a:pt x="495" y="35"/>
                    </a:lnTo>
                    <a:lnTo>
                      <a:pt x="493" y="32"/>
                    </a:lnTo>
                    <a:lnTo>
                      <a:pt x="485" y="25"/>
                    </a:lnTo>
                    <a:lnTo>
                      <a:pt x="478" y="18"/>
                    </a:lnTo>
                    <a:lnTo>
                      <a:pt x="475" y="18"/>
                    </a:lnTo>
                    <a:lnTo>
                      <a:pt x="470" y="17"/>
                    </a:lnTo>
                    <a:lnTo>
                      <a:pt x="468" y="17"/>
                    </a:lnTo>
                    <a:lnTo>
                      <a:pt x="462" y="15"/>
                    </a:lnTo>
                    <a:lnTo>
                      <a:pt x="457" y="10"/>
                    </a:lnTo>
                    <a:lnTo>
                      <a:pt x="450" y="9"/>
                    </a:lnTo>
                    <a:lnTo>
                      <a:pt x="449" y="2"/>
                    </a:lnTo>
                    <a:lnTo>
                      <a:pt x="447" y="0"/>
                    </a:lnTo>
                    <a:lnTo>
                      <a:pt x="439" y="9"/>
                    </a:lnTo>
                    <a:lnTo>
                      <a:pt x="434" y="20"/>
                    </a:lnTo>
                    <a:lnTo>
                      <a:pt x="427" y="23"/>
                    </a:lnTo>
                    <a:lnTo>
                      <a:pt x="424" y="20"/>
                    </a:lnTo>
                    <a:lnTo>
                      <a:pt x="419" y="20"/>
                    </a:lnTo>
                    <a:lnTo>
                      <a:pt x="416" y="25"/>
                    </a:lnTo>
                    <a:lnTo>
                      <a:pt x="414" y="28"/>
                    </a:lnTo>
                    <a:lnTo>
                      <a:pt x="414" y="30"/>
                    </a:lnTo>
                    <a:lnTo>
                      <a:pt x="411" y="32"/>
                    </a:lnTo>
                    <a:lnTo>
                      <a:pt x="409" y="33"/>
                    </a:lnTo>
                    <a:lnTo>
                      <a:pt x="404" y="35"/>
                    </a:lnTo>
                    <a:lnTo>
                      <a:pt x="403" y="33"/>
                    </a:lnTo>
                    <a:lnTo>
                      <a:pt x="399" y="35"/>
                    </a:lnTo>
                    <a:lnTo>
                      <a:pt x="394" y="35"/>
                    </a:lnTo>
                    <a:lnTo>
                      <a:pt x="394" y="33"/>
                    </a:lnTo>
                    <a:lnTo>
                      <a:pt x="389" y="32"/>
                    </a:lnTo>
                    <a:lnTo>
                      <a:pt x="388" y="27"/>
                    </a:lnTo>
                    <a:lnTo>
                      <a:pt x="385" y="27"/>
                    </a:lnTo>
                    <a:lnTo>
                      <a:pt x="383" y="32"/>
                    </a:lnTo>
                    <a:lnTo>
                      <a:pt x="385" y="41"/>
                    </a:lnTo>
                    <a:lnTo>
                      <a:pt x="380" y="40"/>
                    </a:lnTo>
                    <a:lnTo>
                      <a:pt x="378" y="45"/>
                    </a:lnTo>
                    <a:lnTo>
                      <a:pt x="375" y="46"/>
                    </a:lnTo>
                    <a:lnTo>
                      <a:pt x="373" y="48"/>
                    </a:lnTo>
                    <a:lnTo>
                      <a:pt x="370" y="55"/>
                    </a:lnTo>
                    <a:lnTo>
                      <a:pt x="366" y="58"/>
                    </a:lnTo>
                    <a:lnTo>
                      <a:pt x="360" y="66"/>
                    </a:lnTo>
                    <a:lnTo>
                      <a:pt x="357" y="73"/>
                    </a:lnTo>
                    <a:lnTo>
                      <a:pt x="355" y="73"/>
                    </a:lnTo>
                    <a:lnTo>
                      <a:pt x="352" y="74"/>
                    </a:lnTo>
                    <a:lnTo>
                      <a:pt x="348" y="79"/>
                    </a:lnTo>
                    <a:lnTo>
                      <a:pt x="348" y="81"/>
                    </a:lnTo>
                    <a:lnTo>
                      <a:pt x="347" y="81"/>
                    </a:lnTo>
                    <a:lnTo>
                      <a:pt x="345" y="79"/>
                    </a:lnTo>
                    <a:lnTo>
                      <a:pt x="345" y="81"/>
                    </a:lnTo>
                    <a:lnTo>
                      <a:pt x="337" y="83"/>
                    </a:lnTo>
                    <a:lnTo>
                      <a:pt x="339" y="84"/>
                    </a:lnTo>
                    <a:lnTo>
                      <a:pt x="335" y="86"/>
                    </a:lnTo>
                    <a:lnTo>
                      <a:pt x="330" y="88"/>
                    </a:lnTo>
                    <a:lnTo>
                      <a:pt x="329" y="84"/>
                    </a:lnTo>
                    <a:lnTo>
                      <a:pt x="324" y="86"/>
                    </a:lnTo>
                    <a:lnTo>
                      <a:pt x="319" y="89"/>
                    </a:lnTo>
                    <a:lnTo>
                      <a:pt x="316" y="97"/>
                    </a:lnTo>
                    <a:lnTo>
                      <a:pt x="312" y="101"/>
                    </a:lnTo>
                    <a:lnTo>
                      <a:pt x="311" y="99"/>
                    </a:lnTo>
                    <a:lnTo>
                      <a:pt x="309" y="101"/>
                    </a:lnTo>
                    <a:lnTo>
                      <a:pt x="301" y="102"/>
                    </a:lnTo>
                    <a:lnTo>
                      <a:pt x="301" y="106"/>
                    </a:lnTo>
                    <a:lnTo>
                      <a:pt x="299" y="114"/>
                    </a:lnTo>
                    <a:lnTo>
                      <a:pt x="301" y="117"/>
                    </a:lnTo>
                    <a:lnTo>
                      <a:pt x="299" y="119"/>
                    </a:lnTo>
                    <a:lnTo>
                      <a:pt x="304" y="125"/>
                    </a:lnTo>
                    <a:lnTo>
                      <a:pt x="301" y="129"/>
                    </a:lnTo>
                    <a:lnTo>
                      <a:pt x="301" y="134"/>
                    </a:lnTo>
                    <a:lnTo>
                      <a:pt x="297" y="137"/>
                    </a:lnTo>
                    <a:lnTo>
                      <a:pt x="291" y="135"/>
                    </a:lnTo>
                    <a:lnTo>
                      <a:pt x="293" y="138"/>
                    </a:lnTo>
                    <a:lnTo>
                      <a:pt x="289" y="140"/>
                    </a:lnTo>
                    <a:lnTo>
                      <a:pt x="281" y="142"/>
                    </a:lnTo>
                    <a:lnTo>
                      <a:pt x="283" y="152"/>
                    </a:lnTo>
                    <a:lnTo>
                      <a:pt x="279" y="150"/>
                    </a:lnTo>
                    <a:lnTo>
                      <a:pt x="276" y="153"/>
                    </a:lnTo>
                    <a:lnTo>
                      <a:pt x="268" y="155"/>
                    </a:lnTo>
                    <a:lnTo>
                      <a:pt x="266" y="158"/>
                    </a:lnTo>
                    <a:lnTo>
                      <a:pt x="261" y="152"/>
                    </a:lnTo>
                    <a:lnTo>
                      <a:pt x="260" y="152"/>
                    </a:lnTo>
                    <a:lnTo>
                      <a:pt x="258" y="152"/>
                    </a:lnTo>
                    <a:lnTo>
                      <a:pt x="256" y="153"/>
                    </a:lnTo>
                    <a:lnTo>
                      <a:pt x="255" y="150"/>
                    </a:lnTo>
                    <a:lnTo>
                      <a:pt x="251" y="148"/>
                    </a:lnTo>
                    <a:lnTo>
                      <a:pt x="251" y="160"/>
                    </a:lnTo>
                    <a:lnTo>
                      <a:pt x="248" y="165"/>
                    </a:lnTo>
                    <a:lnTo>
                      <a:pt x="243" y="158"/>
                    </a:lnTo>
                    <a:lnTo>
                      <a:pt x="240" y="158"/>
                    </a:lnTo>
                    <a:lnTo>
                      <a:pt x="237" y="153"/>
                    </a:lnTo>
                    <a:lnTo>
                      <a:pt x="233" y="155"/>
                    </a:lnTo>
                    <a:lnTo>
                      <a:pt x="235" y="157"/>
                    </a:lnTo>
                    <a:lnTo>
                      <a:pt x="232" y="160"/>
                    </a:lnTo>
                    <a:lnTo>
                      <a:pt x="228" y="160"/>
                    </a:lnTo>
                    <a:lnTo>
                      <a:pt x="228" y="158"/>
                    </a:lnTo>
                    <a:lnTo>
                      <a:pt x="225" y="155"/>
                    </a:lnTo>
                    <a:lnTo>
                      <a:pt x="225" y="150"/>
                    </a:lnTo>
                    <a:lnTo>
                      <a:pt x="227" y="148"/>
                    </a:lnTo>
                    <a:lnTo>
                      <a:pt x="224" y="148"/>
                    </a:lnTo>
                    <a:lnTo>
                      <a:pt x="225" y="145"/>
                    </a:lnTo>
                    <a:lnTo>
                      <a:pt x="222" y="145"/>
                    </a:lnTo>
                    <a:lnTo>
                      <a:pt x="222" y="140"/>
                    </a:lnTo>
                    <a:lnTo>
                      <a:pt x="215" y="142"/>
                    </a:lnTo>
                    <a:lnTo>
                      <a:pt x="214" y="137"/>
                    </a:lnTo>
                    <a:lnTo>
                      <a:pt x="212" y="135"/>
                    </a:lnTo>
                    <a:lnTo>
                      <a:pt x="209" y="137"/>
                    </a:lnTo>
                    <a:lnTo>
                      <a:pt x="205" y="137"/>
                    </a:lnTo>
                    <a:lnTo>
                      <a:pt x="197" y="142"/>
                    </a:lnTo>
                    <a:lnTo>
                      <a:pt x="194" y="142"/>
                    </a:lnTo>
                    <a:lnTo>
                      <a:pt x="189" y="137"/>
                    </a:lnTo>
                    <a:lnTo>
                      <a:pt x="184" y="142"/>
                    </a:lnTo>
                    <a:lnTo>
                      <a:pt x="179" y="143"/>
                    </a:lnTo>
                    <a:lnTo>
                      <a:pt x="178" y="150"/>
                    </a:lnTo>
                    <a:lnTo>
                      <a:pt x="181" y="158"/>
                    </a:lnTo>
                    <a:lnTo>
                      <a:pt x="179" y="165"/>
                    </a:lnTo>
                    <a:lnTo>
                      <a:pt x="179" y="176"/>
                    </a:lnTo>
                    <a:lnTo>
                      <a:pt x="169" y="178"/>
                    </a:lnTo>
                    <a:lnTo>
                      <a:pt x="163" y="183"/>
                    </a:lnTo>
                    <a:lnTo>
                      <a:pt x="163" y="185"/>
                    </a:lnTo>
                    <a:lnTo>
                      <a:pt x="161" y="185"/>
                    </a:lnTo>
                    <a:lnTo>
                      <a:pt x="161" y="186"/>
                    </a:lnTo>
                    <a:lnTo>
                      <a:pt x="156" y="193"/>
                    </a:lnTo>
                    <a:lnTo>
                      <a:pt x="155" y="193"/>
                    </a:lnTo>
                    <a:lnTo>
                      <a:pt x="155" y="194"/>
                    </a:lnTo>
                    <a:lnTo>
                      <a:pt x="153" y="194"/>
                    </a:lnTo>
                    <a:lnTo>
                      <a:pt x="150" y="185"/>
                    </a:lnTo>
                    <a:lnTo>
                      <a:pt x="140" y="173"/>
                    </a:lnTo>
                    <a:lnTo>
                      <a:pt x="140" y="166"/>
                    </a:lnTo>
                    <a:lnTo>
                      <a:pt x="128" y="165"/>
                    </a:lnTo>
                    <a:lnTo>
                      <a:pt x="127" y="165"/>
                    </a:lnTo>
                    <a:lnTo>
                      <a:pt x="125" y="165"/>
                    </a:lnTo>
                    <a:lnTo>
                      <a:pt x="123" y="161"/>
                    </a:lnTo>
                    <a:lnTo>
                      <a:pt x="118" y="163"/>
                    </a:lnTo>
                    <a:lnTo>
                      <a:pt x="115" y="166"/>
                    </a:lnTo>
                    <a:lnTo>
                      <a:pt x="112" y="166"/>
                    </a:lnTo>
                    <a:lnTo>
                      <a:pt x="109" y="170"/>
                    </a:lnTo>
                    <a:lnTo>
                      <a:pt x="97" y="161"/>
                    </a:lnTo>
                    <a:lnTo>
                      <a:pt x="97" y="160"/>
                    </a:lnTo>
                    <a:lnTo>
                      <a:pt x="94" y="157"/>
                    </a:lnTo>
                    <a:lnTo>
                      <a:pt x="94" y="155"/>
                    </a:lnTo>
                    <a:lnTo>
                      <a:pt x="92" y="152"/>
                    </a:lnTo>
                    <a:lnTo>
                      <a:pt x="90" y="157"/>
                    </a:lnTo>
                    <a:lnTo>
                      <a:pt x="82" y="158"/>
                    </a:lnTo>
                    <a:lnTo>
                      <a:pt x="81" y="160"/>
                    </a:lnTo>
                    <a:lnTo>
                      <a:pt x="77" y="163"/>
                    </a:lnTo>
                    <a:lnTo>
                      <a:pt x="76" y="165"/>
                    </a:lnTo>
                    <a:lnTo>
                      <a:pt x="76" y="170"/>
                    </a:lnTo>
                    <a:lnTo>
                      <a:pt x="74" y="170"/>
                    </a:lnTo>
                    <a:lnTo>
                      <a:pt x="71" y="175"/>
                    </a:lnTo>
                    <a:lnTo>
                      <a:pt x="63" y="175"/>
                    </a:lnTo>
                    <a:lnTo>
                      <a:pt x="56" y="176"/>
                    </a:lnTo>
                    <a:lnTo>
                      <a:pt x="51" y="175"/>
                    </a:lnTo>
                    <a:lnTo>
                      <a:pt x="49" y="175"/>
                    </a:lnTo>
                    <a:lnTo>
                      <a:pt x="44" y="180"/>
                    </a:lnTo>
                    <a:lnTo>
                      <a:pt x="44" y="186"/>
                    </a:lnTo>
                    <a:lnTo>
                      <a:pt x="44" y="188"/>
                    </a:lnTo>
                    <a:lnTo>
                      <a:pt x="43" y="191"/>
                    </a:lnTo>
                    <a:lnTo>
                      <a:pt x="43" y="196"/>
                    </a:lnTo>
                    <a:lnTo>
                      <a:pt x="35" y="194"/>
                    </a:lnTo>
                    <a:lnTo>
                      <a:pt x="31" y="198"/>
                    </a:lnTo>
                    <a:lnTo>
                      <a:pt x="36" y="201"/>
                    </a:lnTo>
                    <a:lnTo>
                      <a:pt x="31" y="201"/>
                    </a:lnTo>
                    <a:lnTo>
                      <a:pt x="31" y="203"/>
                    </a:lnTo>
                    <a:lnTo>
                      <a:pt x="30" y="204"/>
                    </a:lnTo>
                    <a:lnTo>
                      <a:pt x="38" y="211"/>
                    </a:lnTo>
                    <a:lnTo>
                      <a:pt x="28" y="219"/>
                    </a:lnTo>
                    <a:lnTo>
                      <a:pt x="26" y="222"/>
                    </a:lnTo>
                    <a:lnTo>
                      <a:pt x="30" y="226"/>
                    </a:lnTo>
                    <a:lnTo>
                      <a:pt x="28" y="229"/>
                    </a:lnTo>
                    <a:lnTo>
                      <a:pt x="30" y="232"/>
                    </a:lnTo>
                    <a:lnTo>
                      <a:pt x="25" y="239"/>
                    </a:lnTo>
                    <a:lnTo>
                      <a:pt x="25" y="245"/>
                    </a:lnTo>
                    <a:lnTo>
                      <a:pt x="26" y="247"/>
                    </a:lnTo>
                    <a:lnTo>
                      <a:pt x="28" y="245"/>
                    </a:lnTo>
                    <a:lnTo>
                      <a:pt x="30" y="247"/>
                    </a:lnTo>
                    <a:lnTo>
                      <a:pt x="30" y="249"/>
                    </a:lnTo>
                    <a:lnTo>
                      <a:pt x="26" y="250"/>
                    </a:lnTo>
                    <a:lnTo>
                      <a:pt x="28" y="254"/>
                    </a:lnTo>
                    <a:lnTo>
                      <a:pt x="31" y="255"/>
                    </a:lnTo>
                    <a:lnTo>
                      <a:pt x="33" y="257"/>
                    </a:lnTo>
                    <a:lnTo>
                      <a:pt x="33" y="255"/>
                    </a:lnTo>
                    <a:lnTo>
                      <a:pt x="41" y="257"/>
                    </a:lnTo>
                    <a:lnTo>
                      <a:pt x="41" y="259"/>
                    </a:lnTo>
                    <a:lnTo>
                      <a:pt x="44" y="257"/>
                    </a:lnTo>
                    <a:lnTo>
                      <a:pt x="46" y="254"/>
                    </a:lnTo>
                    <a:lnTo>
                      <a:pt x="49" y="255"/>
                    </a:lnTo>
                    <a:lnTo>
                      <a:pt x="51" y="252"/>
                    </a:lnTo>
                    <a:lnTo>
                      <a:pt x="53" y="252"/>
                    </a:lnTo>
                    <a:lnTo>
                      <a:pt x="53" y="255"/>
                    </a:lnTo>
                    <a:lnTo>
                      <a:pt x="51" y="257"/>
                    </a:lnTo>
                    <a:lnTo>
                      <a:pt x="51" y="259"/>
                    </a:lnTo>
                    <a:lnTo>
                      <a:pt x="53" y="263"/>
                    </a:lnTo>
                    <a:lnTo>
                      <a:pt x="56" y="263"/>
                    </a:lnTo>
                    <a:lnTo>
                      <a:pt x="58" y="267"/>
                    </a:lnTo>
                    <a:lnTo>
                      <a:pt x="59" y="265"/>
                    </a:lnTo>
                    <a:lnTo>
                      <a:pt x="61" y="268"/>
                    </a:lnTo>
                    <a:lnTo>
                      <a:pt x="63" y="265"/>
                    </a:lnTo>
                    <a:lnTo>
                      <a:pt x="64" y="265"/>
                    </a:lnTo>
                    <a:lnTo>
                      <a:pt x="67" y="267"/>
                    </a:lnTo>
                    <a:lnTo>
                      <a:pt x="66" y="268"/>
                    </a:lnTo>
                    <a:lnTo>
                      <a:pt x="67" y="268"/>
                    </a:lnTo>
                    <a:lnTo>
                      <a:pt x="69" y="267"/>
                    </a:lnTo>
                    <a:lnTo>
                      <a:pt x="72" y="268"/>
                    </a:lnTo>
                    <a:lnTo>
                      <a:pt x="71" y="270"/>
                    </a:lnTo>
                    <a:lnTo>
                      <a:pt x="74" y="268"/>
                    </a:lnTo>
                    <a:lnTo>
                      <a:pt x="74" y="270"/>
                    </a:lnTo>
                    <a:lnTo>
                      <a:pt x="77" y="268"/>
                    </a:lnTo>
                    <a:lnTo>
                      <a:pt x="79" y="272"/>
                    </a:lnTo>
                    <a:lnTo>
                      <a:pt x="79" y="277"/>
                    </a:lnTo>
                    <a:lnTo>
                      <a:pt x="76" y="278"/>
                    </a:lnTo>
                    <a:lnTo>
                      <a:pt x="77" y="280"/>
                    </a:lnTo>
                    <a:lnTo>
                      <a:pt x="81" y="278"/>
                    </a:lnTo>
                    <a:lnTo>
                      <a:pt x="86" y="283"/>
                    </a:lnTo>
                    <a:lnTo>
                      <a:pt x="86" y="285"/>
                    </a:lnTo>
                    <a:lnTo>
                      <a:pt x="84" y="286"/>
                    </a:lnTo>
                    <a:lnTo>
                      <a:pt x="87" y="288"/>
                    </a:lnTo>
                    <a:lnTo>
                      <a:pt x="92" y="286"/>
                    </a:lnTo>
                    <a:lnTo>
                      <a:pt x="95" y="290"/>
                    </a:lnTo>
                    <a:lnTo>
                      <a:pt x="95" y="291"/>
                    </a:lnTo>
                    <a:lnTo>
                      <a:pt x="95" y="293"/>
                    </a:lnTo>
                    <a:lnTo>
                      <a:pt x="97" y="293"/>
                    </a:lnTo>
                    <a:lnTo>
                      <a:pt x="97" y="298"/>
                    </a:lnTo>
                    <a:lnTo>
                      <a:pt x="95" y="300"/>
                    </a:lnTo>
                    <a:lnTo>
                      <a:pt x="90" y="300"/>
                    </a:lnTo>
                    <a:lnTo>
                      <a:pt x="92" y="293"/>
                    </a:lnTo>
                    <a:lnTo>
                      <a:pt x="84" y="296"/>
                    </a:lnTo>
                    <a:lnTo>
                      <a:pt x="77" y="296"/>
                    </a:lnTo>
                    <a:lnTo>
                      <a:pt x="77" y="293"/>
                    </a:lnTo>
                    <a:lnTo>
                      <a:pt x="76" y="295"/>
                    </a:lnTo>
                    <a:lnTo>
                      <a:pt x="74" y="298"/>
                    </a:lnTo>
                    <a:lnTo>
                      <a:pt x="74" y="300"/>
                    </a:lnTo>
                    <a:lnTo>
                      <a:pt x="76" y="301"/>
                    </a:lnTo>
                    <a:lnTo>
                      <a:pt x="74" y="305"/>
                    </a:lnTo>
                    <a:lnTo>
                      <a:pt x="71" y="311"/>
                    </a:lnTo>
                    <a:lnTo>
                      <a:pt x="67" y="313"/>
                    </a:lnTo>
                    <a:lnTo>
                      <a:pt x="69" y="319"/>
                    </a:lnTo>
                    <a:lnTo>
                      <a:pt x="67" y="323"/>
                    </a:lnTo>
                    <a:lnTo>
                      <a:pt x="71" y="323"/>
                    </a:lnTo>
                    <a:lnTo>
                      <a:pt x="69" y="323"/>
                    </a:lnTo>
                    <a:lnTo>
                      <a:pt x="67" y="328"/>
                    </a:lnTo>
                    <a:lnTo>
                      <a:pt x="66" y="329"/>
                    </a:lnTo>
                    <a:lnTo>
                      <a:pt x="67" y="334"/>
                    </a:lnTo>
                    <a:lnTo>
                      <a:pt x="66" y="336"/>
                    </a:lnTo>
                    <a:lnTo>
                      <a:pt x="66" y="339"/>
                    </a:lnTo>
                    <a:lnTo>
                      <a:pt x="58" y="341"/>
                    </a:lnTo>
                    <a:lnTo>
                      <a:pt x="54" y="342"/>
                    </a:lnTo>
                    <a:lnTo>
                      <a:pt x="59" y="344"/>
                    </a:lnTo>
                    <a:lnTo>
                      <a:pt x="63" y="347"/>
                    </a:lnTo>
                    <a:lnTo>
                      <a:pt x="58" y="349"/>
                    </a:lnTo>
                    <a:lnTo>
                      <a:pt x="58" y="351"/>
                    </a:lnTo>
                    <a:lnTo>
                      <a:pt x="54" y="352"/>
                    </a:lnTo>
                    <a:lnTo>
                      <a:pt x="53" y="359"/>
                    </a:lnTo>
                    <a:lnTo>
                      <a:pt x="51" y="360"/>
                    </a:lnTo>
                    <a:lnTo>
                      <a:pt x="53" y="365"/>
                    </a:lnTo>
                    <a:lnTo>
                      <a:pt x="48" y="367"/>
                    </a:lnTo>
                    <a:lnTo>
                      <a:pt x="43" y="374"/>
                    </a:lnTo>
                    <a:lnTo>
                      <a:pt x="41" y="374"/>
                    </a:lnTo>
                    <a:lnTo>
                      <a:pt x="35" y="374"/>
                    </a:lnTo>
                    <a:lnTo>
                      <a:pt x="36" y="375"/>
                    </a:lnTo>
                    <a:lnTo>
                      <a:pt x="35" y="375"/>
                    </a:lnTo>
                    <a:lnTo>
                      <a:pt x="35" y="380"/>
                    </a:lnTo>
                    <a:lnTo>
                      <a:pt x="40" y="385"/>
                    </a:lnTo>
                    <a:lnTo>
                      <a:pt x="43" y="395"/>
                    </a:lnTo>
                    <a:lnTo>
                      <a:pt x="43" y="397"/>
                    </a:lnTo>
                    <a:lnTo>
                      <a:pt x="44" y="400"/>
                    </a:lnTo>
                    <a:lnTo>
                      <a:pt x="35" y="405"/>
                    </a:lnTo>
                    <a:lnTo>
                      <a:pt x="36" y="408"/>
                    </a:lnTo>
                    <a:lnTo>
                      <a:pt x="46" y="406"/>
                    </a:lnTo>
                    <a:lnTo>
                      <a:pt x="54" y="403"/>
                    </a:lnTo>
                    <a:lnTo>
                      <a:pt x="54" y="402"/>
                    </a:lnTo>
                    <a:lnTo>
                      <a:pt x="51" y="398"/>
                    </a:lnTo>
                    <a:lnTo>
                      <a:pt x="51" y="397"/>
                    </a:lnTo>
                    <a:lnTo>
                      <a:pt x="53" y="395"/>
                    </a:lnTo>
                    <a:lnTo>
                      <a:pt x="53" y="393"/>
                    </a:lnTo>
                    <a:lnTo>
                      <a:pt x="61" y="390"/>
                    </a:lnTo>
                    <a:lnTo>
                      <a:pt x="63" y="392"/>
                    </a:lnTo>
                    <a:lnTo>
                      <a:pt x="71" y="382"/>
                    </a:lnTo>
                    <a:lnTo>
                      <a:pt x="76" y="380"/>
                    </a:lnTo>
                    <a:lnTo>
                      <a:pt x="81" y="382"/>
                    </a:lnTo>
                    <a:lnTo>
                      <a:pt x="84" y="387"/>
                    </a:lnTo>
                    <a:lnTo>
                      <a:pt x="84" y="392"/>
                    </a:lnTo>
                    <a:lnTo>
                      <a:pt x="86" y="393"/>
                    </a:lnTo>
                    <a:lnTo>
                      <a:pt x="84" y="397"/>
                    </a:lnTo>
                    <a:lnTo>
                      <a:pt x="82" y="406"/>
                    </a:lnTo>
                    <a:lnTo>
                      <a:pt x="84" y="410"/>
                    </a:lnTo>
                    <a:lnTo>
                      <a:pt x="82" y="411"/>
                    </a:lnTo>
                    <a:lnTo>
                      <a:pt x="76" y="410"/>
                    </a:lnTo>
                    <a:lnTo>
                      <a:pt x="72" y="410"/>
                    </a:lnTo>
                    <a:lnTo>
                      <a:pt x="72" y="413"/>
                    </a:lnTo>
                    <a:lnTo>
                      <a:pt x="71" y="416"/>
                    </a:lnTo>
                    <a:lnTo>
                      <a:pt x="74" y="423"/>
                    </a:lnTo>
                    <a:lnTo>
                      <a:pt x="54" y="425"/>
                    </a:lnTo>
                    <a:lnTo>
                      <a:pt x="46" y="425"/>
                    </a:lnTo>
                    <a:lnTo>
                      <a:pt x="40" y="428"/>
                    </a:lnTo>
                    <a:lnTo>
                      <a:pt x="33" y="430"/>
                    </a:lnTo>
                    <a:lnTo>
                      <a:pt x="20" y="438"/>
                    </a:lnTo>
                    <a:lnTo>
                      <a:pt x="15" y="438"/>
                    </a:lnTo>
                    <a:lnTo>
                      <a:pt x="12" y="441"/>
                    </a:lnTo>
                    <a:lnTo>
                      <a:pt x="2" y="451"/>
                    </a:lnTo>
                    <a:lnTo>
                      <a:pt x="0" y="457"/>
                    </a:lnTo>
                    <a:lnTo>
                      <a:pt x="3" y="459"/>
                    </a:lnTo>
                    <a:lnTo>
                      <a:pt x="2" y="464"/>
                    </a:lnTo>
                    <a:lnTo>
                      <a:pt x="5" y="466"/>
                    </a:lnTo>
                    <a:lnTo>
                      <a:pt x="7" y="469"/>
                    </a:lnTo>
                    <a:lnTo>
                      <a:pt x="20" y="476"/>
                    </a:lnTo>
                    <a:lnTo>
                      <a:pt x="26" y="480"/>
                    </a:lnTo>
                    <a:lnTo>
                      <a:pt x="26" y="485"/>
                    </a:lnTo>
                    <a:lnTo>
                      <a:pt x="30" y="489"/>
                    </a:lnTo>
                    <a:lnTo>
                      <a:pt x="38" y="490"/>
                    </a:lnTo>
                    <a:lnTo>
                      <a:pt x="41" y="494"/>
                    </a:lnTo>
                    <a:lnTo>
                      <a:pt x="44" y="494"/>
                    </a:lnTo>
                    <a:lnTo>
                      <a:pt x="46" y="497"/>
                    </a:lnTo>
                    <a:lnTo>
                      <a:pt x="49" y="500"/>
                    </a:lnTo>
                    <a:lnTo>
                      <a:pt x="54" y="503"/>
                    </a:lnTo>
                    <a:lnTo>
                      <a:pt x="54" y="505"/>
                    </a:lnTo>
                    <a:lnTo>
                      <a:pt x="56" y="505"/>
                    </a:lnTo>
                    <a:lnTo>
                      <a:pt x="61" y="508"/>
                    </a:lnTo>
                    <a:lnTo>
                      <a:pt x="61" y="510"/>
                    </a:lnTo>
                    <a:lnTo>
                      <a:pt x="66" y="512"/>
                    </a:lnTo>
                    <a:lnTo>
                      <a:pt x="69" y="513"/>
                    </a:lnTo>
                    <a:lnTo>
                      <a:pt x="77" y="512"/>
                    </a:lnTo>
                    <a:lnTo>
                      <a:pt x="92" y="507"/>
                    </a:lnTo>
                    <a:lnTo>
                      <a:pt x="99" y="510"/>
                    </a:lnTo>
                    <a:lnTo>
                      <a:pt x="95" y="522"/>
                    </a:lnTo>
                    <a:lnTo>
                      <a:pt x="89" y="525"/>
                    </a:lnTo>
                    <a:lnTo>
                      <a:pt x="84" y="525"/>
                    </a:lnTo>
                    <a:lnTo>
                      <a:pt x="82" y="527"/>
                    </a:lnTo>
                    <a:lnTo>
                      <a:pt x="82" y="538"/>
                    </a:lnTo>
                    <a:lnTo>
                      <a:pt x="82" y="545"/>
                    </a:lnTo>
                    <a:lnTo>
                      <a:pt x="79" y="546"/>
                    </a:lnTo>
                    <a:lnTo>
                      <a:pt x="79" y="551"/>
                    </a:lnTo>
                    <a:lnTo>
                      <a:pt x="81" y="551"/>
                    </a:lnTo>
                    <a:lnTo>
                      <a:pt x="86" y="553"/>
                    </a:lnTo>
                    <a:lnTo>
                      <a:pt x="86" y="554"/>
                    </a:lnTo>
                    <a:lnTo>
                      <a:pt x="95" y="553"/>
                    </a:lnTo>
                    <a:lnTo>
                      <a:pt x="100" y="556"/>
                    </a:lnTo>
                    <a:lnTo>
                      <a:pt x="95" y="558"/>
                    </a:lnTo>
                    <a:lnTo>
                      <a:pt x="95" y="561"/>
                    </a:lnTo>
                    <a:lnTo>
                      <a:pt x="92" y="561"/>
                    </a:lnTo>
                    <a:lnTo>
                      <a:pt x="90" y="561"/>
                    </a:lnTo>
                    <a:lnTo>
                      <a:pt x="87" y="561"/>
                    </a:lnTo>
                    <a:lnTo>
                      <a:pt x="82" y="559"/>
                    </a:lnTo>
                    <a:lnTo>
                      <a:pt x="74" y="563"/>
                    </a:lnTo>
                    <a:lnTo>
                      <a:pt x="67" y="566"/>
                    </a:lnTo>
                    <a:lnTo>
                      <a:pt x="67" y="569"/>
                    </a:lnTo>
                    <a:lnTo>
                      <a:pt x="66" y="571"/>
                    </a:lnTo>
                    <a:lnTo>
                      <a:pt x="69" y="571"/>
                    </a:lnTo>
                    <a:lnTo>
                      <a:pt x="67" y="574"/>
                    </a:lnTo>
                    <a:lnTo>
                      <a:pt x="64" y="574"/>
                    </a:lnTo>
                    <a:lnTo>
                      <a:pt x="58" y="576"/>
                    </a:lnTo>
                    <a:lnTo>
                      <a:pt x="59" y="579"/>
                    </a:lnTo>
                    <a:lnTo>
                      <a:pt x="56" y="587"/>
                    </a:lnTo>
                    <a:lnTo>
                      <a:pt x="58" y="589"/>
                    </a:lnTo>
                    <a:lnTo>
                      <a:pt x="48" y="594"/>
                    </a:lnTo>
                    <a:lnTo>
                      <a:pt x="51" y="605"/>
                    </a:lnTo>
                    <a:lnTo>
                      <a:pt x="48" y="609"/>
                    </a:lnTo>
                    <a:lnTo>
                      <a:pt x="44" y="612"/>
                    </a:lnTo>
                    <a:lnTo>
                      <a:pt x="44" y="614"/>
                    </a:lnTo>
                    <a:lnTo>
                      <a:pt x="41" y="615"/>
                    </a:lnTo>
                    <a:lnTo>
                      <a:pt x="41" y="617"/>
                    </a:lnTo>
                    <a:lnTo>
                      <a:pt x="49" y="622"/>
                    </a:lnTo>
                    <a:lnTo>
                      <a:pt x="54" y="617"/>
                    </a:lnTo>
                    <a:lnTo>
                      <a:pt x="58" y="620"/>
                    </a:lnTo>
                    <a:lnTo>
                      <a:pt x="58" y="622"/>
                    </a:lnTo>
                    <a:lnTo>
                      <a:pt x="51" y="628"/>
                    </a:lnTo>
                    <a:lnTo>
                      <a:pt x="36" y="632"/>
                    </a:lnTo>
                    <a:lnTo>
                      <a:pt x="36" y="633"/>
                    </a:lnTo>
                    <a:lnTo>
                      <a:pt x="35" y="637"/>
                    </a:lnTo>
                    <a:lnTo>
                      <a:pt x="36" y="640"/>
                    </a:lnTo>
                    <a:lnTo>
                      <a:pt x="38" y="640"/>
                    </a:lnTo>
                    <a:lnTo>
                      <a:pt x="46" y="643"/>
                    </a:lnTo>
                    <a:lnTo>
                      <a:pt x="46" y="650"/>
                    </a:lnTo>
                    <a:lnTo>
                      <a:pt x="41" y="651"/>
                    </a:lnTo>
                    <a:lnTo>
                      <a:pt x="41" y="660"/>
                    </a:lnTo>
                    <a:lnTo>
                      <a:pt x="40" y="666"/>
                    </a:lnTo>
                    <a:lnTo>
                      <a:pt x="41" y="671"/>
                    </a:lnTo>
                    <a:lnTo>
                      <a:pt x="43" y="673"/>
                    </a:lnTo>
                    <a:lnTo>
                      <a:pt x="51" y="681"/>
                    </a:lnTo>
                    <a:lnTo>
                      <a:pt x="51" y="683"/>
                    </a:lnTo>
                    <a:lnTo>
                      <a:pt x="53" y="688"/>
                    </a:lnTo>
                    <a:lnTo>
                      <a:pt x="49" y="698"/>
                    </a:lnTo>
                    <a:lnTo>
                      <a:pt x="53" y="702"/>
                    </a:lnTo>
                    <a:lnTo>
                      <a:pt x="54" y="707"/>
                    </a:lnTo>
                    <a:lnTo>
                      <a:pt x="59" y="721"/>
                    </a:lnTo>
                    <a:lnTo>
                      <a:pt x="69" y="730"/>
                    </a:lnTo>
                    <a:lnTo>
                      <a:pt x="71" y="734"/>
                    </a:lnTo>
                    <a:lnTo>
                      <a:pt x="74" y="735"/>
                    </a:lnTo>
                    <a:lnTo>
                      <a:pt x="81" y="745"/>
                    </a:lnTo>
                    <a:lnTo>
                      <a:pt x="81" y="752"/>
                    </a:lnTo>
                    <a:lnTo>
                      <a:pt x="84" y="753"/>
                    </a:lnTo>
                    <a:lnTo>
                      <a:pt x="92" y="752"/>
                    </a:lnTo>
                    <a:lnTo>
                      <a:pt x="94" y="765"/>
                    </a:lnTo>
                    <a:lnTo>
                      <a:pt x="100" y="763"/>
                    </a:lnTo>
                    <a:lnTo>
                      <a:pt x="105" y="760"/>
                    </a:lnTo>
                    <a:lnTo>
                      <a:pt x="113" y="757"/>
                    </a:lnTo>
                    <a:lnTo>
                      <a:pt x="117" y="753"/>
                    </a:lnTo>
                    <a:lnTo>
                      <a:pt x="122" y="753"/>
                    </a:lnTo>
                    <a:lnTo>
                      <a:pt x="123" y="752"/>
                    </a:lnTo>
                    <a:lnTo>
                      <a:pt x="123" y="748"/>
                    </a:lnTo>
                    <a:lnTo>
                      <a:pt x="127" y="748"/>
                    </a:lnTo>
                    <a:lnTo>
                      <a:pt x="128" y="752"/>
                    </a:lnTo>
                    <a:lnTo>
                      <a:pt x="133" y="752"/>
                    </a:lnTo>
                    <a:lnTo>
                      <a:pt x="135" y="753"/>
                    </a:lnTo>
                    <a:lnTo>
                      <a:pt x="136" y="753"/>
                    </a:lnTo>
                    <a:lnTo>
                      <a:pt x="138" y="757"/>
                    </a:lnTo>
                    <a:lnTo>
                      <a:pt x="132" y="758"/>
                    </a:lnTo>
                    <a:lnTo>
                      <a:pt x="135" y="760"/>
                    </a:lnTo>
                    <a:lnTo>
                      <a:pt x="135" y="758"/>
                    </a:lnTo>
                    <a:lnTo>
                      <a:pt x="138" y="758"/>
                    </a:lnTo>
                    <a:lnTo>
                      <a:pt x="140" y="757"/>
                    </a:lnTo>
                    <a:lnTo>
                      <a:pt x="141" y="763"/>
                    </a:lnTo>
                    <a:lnTo>
                      <a:pt x="145" y="765"/>
                    </a:lnTo>
                    <a:lnTo>
                      <a:pt x="151" y="770"/>
                    </a:lnTo>
                    <a:lnTo>
                      <a:pt x="153" y="773"/>
                    </a:lnTo>
                    <a:lnTo>
                      <a:pt x="161" y="778"/>
                    </a:lnTo>
                    <a:lnTo>
                      <a:pt x="164" y="778"/>
                    </a:lnTo>
                    <a:lnTo>
                      <a:pt x="163" y="781"/>
                    </a:lnTo>
                    <a:lnTo>
                      <a:pt x="161" y="783"/>
                    </a:lnTo>
                    <a:lnTo>
                      <a:pt x="161" y="785"/>
                    </a:lnTo>
                    <a:lnTo>
                      <a:pt x="161" y="788"/>
                    </a:lnTo>
                    <a:lnTo>
                      <a:pt x="164" y="790"/>
                    </a:lnTo>
                    <a:lnTo>
                      <a:pt x="169" y="798"/>
                    </a:lnTo>
                    <a:lnTo>
                      <a:pt x="174" y="799"/>
                    </a:lnTo>
                    <a:lnTo>
                      <a:pt x="176" y="803"/>
                    </a:lnTo>
                    <a:lnTo>
                      <a:pt x="178" y="801"/>
                    </a:lnTo>
                    <a:lnTo>
                      <a:pt x="179" y="801"/>
                    </a:lnTo>
                    <a:lnTo>
                      <a:pt x="182" y="796"/>
                    </a:lnTo>
                    <a:lnTo>
                      <a:pt x="184" y="801"/>
                    </a:lnTo>
                    <a:lnTo>
                      <a:pt x="186" y="801"/>
                    </a:lnTo>
                    <a:lnTo>
                      <a:pt x="187" y="798"/>
                    </a:lnTo>
                    <a:lnTo>
                      <a:pt x="189" y="799"/>
                    </a:lnTo>
                    <a:lnTo>
                      <a:pt x="192" y="806"/>
                    </a:lnTo>
                    <a:lnTo>
                      <a:pt x="194" y="806"/>
                    </a:lnTo>
                    <a:lnTo>
                      <a:pt x="194" y="803"/>
                    </a:lnTo>
                    <a:lnTo>
                      <a:pt x="202" y="806"/>
                    </a:lnTo>
                    <a:lnTo>
                      <a:pt x="204" y="806"/>
                    </a:lnTo>
                    <a:lnTo>
                      <a:pt x="204" y="809"/>
                    </a:lnTo>
                    <a:lnTo>
                      <a:pt x="205" y="809"/>
                    </a:lnTo>
                    <a:lnTo>
                      <a:pt x="207" y="808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 20">
                <a:extLst>
                  <a:ext uri="{FF2B5EF4-FFF2-40B4-BE49-F238E27FC236}">
                    <a16:creationId xmlns:a16="http://schemas.microsoft.com/office/drawing/2014/main" id="{FAAAD925-5948-457B-A0BB-9E8FE47C766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770438" y="4699000"/>
                <a:ext cx="469900" cy="242888"/>
              </a:xfrm>
              <a:custGeom>
                <a:avLst/>
                <a:gdLst>
                  <a:gd name="T0" fmla="*/ 163 w 296"/>
                  <a:gd name="T1" fmla="*/ 104 h 153"/>
                  <a:gd name="T2" fmla="*/ 169 w 296"/>
                  <a:gd name="T3" fmla="*/ 110 h 153"/>
                  <a:gd name="T4" fmla="*/ 174 w 296"/>
                  <a:gd name="T5" fmla="*/ 117 h 153"/>
                  <a:gd name="T6" fmla="*/ 176 w 296"/>
                  <a:gd name="T7" fmla="*/ 110 h 153"/>
                  <a:gd name="T8" fmla="*/ 182 w 296"/>
                  <a:gd name="T9" fmla="*/ 104 h 153"/>
                  <a:gd name="T10" fmla="*/ 200 w 296"/>
                  <a:gd name="T11" fmla="*/ 110 h 153"/>
                  <a:gd name="T12" fmla="*/ 209 w 296"/>
                  <a:gd name="T13" fmla="*/ 102 h 153"/>
                  <a:gd name="T14" fmla="*/ 204 w 296"/>
                  <a:gd name="T15" fmla="*/ 92 h 153"/>
                  <a:gd name="T16" fmla="*/ 205 w 296"/>
                  <a:gd name="T17" fmla="*/ 92 h 153"/>
                  <a:gd name="T18" fmla="*/ 213 w 296"/>
                  <a:gd name="T19" fmla="*/ 100 h 153"/>
                  <a:gd name="T20" fmla="*/ 245 w 296"/>
                  <a:gd name="T21" fmla="*/ 117 h 153"/>
                  <a:gd name="T22" fmla="*/ 259 w 296"/>
                  <a:gd name="T23" fmla="*/ 105 h 153"/>
                  <a:gd name="T24" fmla="*/ 264 w 296"/>
                  <a:gd name="T25" fmla="*/ 95 h 153"/>
                  <a:gd name="T26" fmla="*/ 273 w 296"/>
                  <a:gd name="T27" fmla="*/ 97 h 153"/>
                  <a:gd name="T28" fmla="*/ 292 w 296"/>
                  <a:gd name="T29" fmla="*/ 87 h 153"/>
                  <a:gd name="T30" fmla="*/ 289 w 296"/>
                  <a:gd name="T31" fmla="*/ 72 h 153"/>
                  <a:gd name="T32" fmla="*/ 273 w 296"/>
                  <a:gd name="T33" fmla="*/ 53 h 153"/>
                  <a:gd name="T34" fmla="*/ 268 w 296"/>
                  <a:gd name="T35" fmla="*/ 43 h 153"/>
                  <a:gd name="T36" fmla="*/ 232 w 296"/>
                  <a:gd name="T37" fmla="*/ 39 h 153"/>
                  <a:gd name="T38" fmla="*/ 217 w 296"/>
                  <a:gd name="T39" fmla="*/ 44 h 153"/>
                  <a:gd name="T40" fmla="*/ 210 w 296"/>
                  <a:gd name="T41" fmla="*/ 49 h 153"/>
                  <a:gd name="T42" fmla="*/ 200 w 296"/>
                  <a:gd name="T43" fmla="*/ 48 h 153"/>
                  <a:gd name="T44" fmla="*/ 192 w 296"/>
                  <a:gd name="T45" fmla="*/ 43 h 153"/>
                  <a:gd name="T46" fmla="*/ 187 w 296"/>
                  <a:gd name="T47" fmla="*/ 31 h 153"/>
                  <a:gd name="T48" fmla="*/ 176 w 296"/>
                  <a:gd name="T49" fmla="*/ 18 h 153"/>
                  <a:gd name="T50" fmla="*/ 167 w 296"/>
                  <a:gd name="T51" fmla="*/ 7 h 153"/>
                  <a:gd name="T52" fmla="*/ 144 w 296"/>
                  <a:gd name="T53" fmla="*/ 2 h 153"/>
                  <a:gd name="T54" fmla="*/ 120 w 296"/>
                  <a:gd name="T55" fmla="*/ 7 h 153"/>
                  <a:gd name="T56" fmla="*/ 107 w 296"/>
                  <a:gd name="T57" fmla="*/ 13 h 153"/>
                  <a:gd name="T58" fmla="*/ 100 w 296"/>
                  <a:gd name="T59" fmla="*/ 18 h 153"/>
                  <a:gd name="T60" fmla="*/ 89 w 296"/>
                  <a:gd name="T61" fmla="*/ 28 h 153"/>
                  <a:gd name="T62" fmla="*/ 82 w 296"/>
                  <a:gd name="T63" fmla="*/ 31 h 153"/>
                  <a:gd name="T64" fmla="*/ 59 w 296"/>
                  <a:gd name="T65" fmla="*/ 34 h 153"/>
                  <a:gd name="T66" fmla="*/ 48 w 296"/>
                  <a:gd name="T67" fmla="*/ 43 h 153"/>
                  <a:gd name="T68" fmla="*/ 31 w 296"/>
                  <a:gd name="T69" fmla="*/ 43 h 153"/>
                  <a:gd name="T70" fmla="*/ 3 w 296"/>
                  <a:gd name="T71" fmla="*/ 34 h 153"/>
                  <a:gd name="T72" fmla="*/ 3 w 296"/>
                  <a:gd name="T73" fmla="*/ 51 h 153"/>
                  <a:gd name="T74" fmla="*/ 6 w 296"/>
                  <a:gd name="T75" fmla="*/ 66 h 153"/>
                  <a:gd name="T76" fmla="*/ 8 w 296"/>
                  <a:gd name="T77" fmla="*/ 81 h 153"/>
                  <a:gd name="T78" fmla="*/ 6 w 296"/>
                  <a:gd name="T79" fmla="*/ 99 h 153"/>
                  <a:gd name="T80" fmla="*/ 3 w 296"/>
                  <a:gd name="T81" fmla="*/ 115 h 153"/>
                  <a:gd name="T82" fmla="*/ 11 w 296"/>
                  <a:gd name="T83" fmla="*/ 133 h 153"/>
                  <a:gd name="T84" fmla="*/ 21 w 296"/>
                  <a:gd name="T85" fmla="*/ 143 h 153"/>
                  <a:gd name="T86" fmla="*/ 28 w 296"/>
                  <a:gd name="T87" fmla="*/ 150 h 153"/>
                  <a:gd name="T88" fmla="*/ 41 w 296"/>
                  <a:gd name="T89" fmla="*/ 153 h 153"/>
                  <a:gd name="T90" fmla="*/ 48 w 296"/>
                  <a:gd name="T91" fmla="*/ 145 h 153"/>
                  <a:gd name="T92" fmla="*/ 44 w 296"/>
                  <a:gd name="T93" fmla="*/ 136 h 153"/>
                  <a:gd name="T94" fmla="*/ 52 w 296"/>
                  <a:gd name="T95" fmla="*/ 133 h 153"/>
                  <a:gd name="T96" fmla="*/ 62 w 296"/>
                  <a:gd name="T97" fmla="*/ 135 h 153"/>
                  <a:gd name="T98" fmla="*/ 66 w 296"/>
                  <a:gd name="T99" fmla="*/ 128 h 153"/>
                  <a:gd name="T100" fmla="*/ 74 w 296"/>
                  <a:gd name="T101" fmla="*/ 117 h 153"/>
                  <a:gd name="T102" fmla="*/ 90 w 296"/>
                  <a:gd name="T103" fmla="*/ 120 h 153"/>
                  <a:gd name="T104" fmla="*/ 94 w 296"/>
                  <a:gd name="T105" fmla="*/ 115 h 153"/>
                  <a:gd name="T106" fmla="*/ 100 w 296"/>
                  <a:gd name="T107" fmla="*/ 122 h 153"/>
                  <a:gd name="T108" fmla="*/ 113 w 296"/>
                  <a:gd name="T109" fmla="*/ 128 h 153"/>
                  <a:gd name="T110" fmla="*/ 118 w 296"/>
                  <a:gd name="T111" fmla="*/ 118 h 153"/>
                  <a:gd name="T112" fmla="*/ 133 w 296"/>
                  <a:gd name="T113" fmla="*/ 117 h 153"/>
                  <a:gd name="T114" fmla="*/ 141 w 296"/>
                  <a:gd name="T115" fmla="*/ 104 h 153"/>
                  <a:gd name="T116" fmla="*/ 79 w 296"/>
                  <a:gd name="T117" fmla="*/ 117 h 153"/>
                  <a:gd name="T118" fmla="*/ 66 w 296"/>
                  <a:gd name="T119" fmla="*/ 125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6" h="153">
                    <a:moveTo>
                      <a:pt x="151" y="105"/>
                    </a:moveTo>
                    <a:lnTo>
                      <a:pt x="156" y="107"/>
                    </a:lnTo>
                    <a:lnTo>
                      <a:pt x="159" y="107"/>
                    </a:lnTo>
                    <a:lnTo>
                      <a:pt x="161" y="105"/>
                    </a:lnTo>
                    <a:lnTo>
                      <a:pt x="163" y="104"/>
                    </a:lnTo>
                    <a:lnTo>
                      <a:pt x="164" y="104"/>
                    </a:lnTo>
                    <a:lnTo>
                      <a:pt x="166" y="104"/>
                    </a:lnTo>
                    <a:lnTo>
                      <a:pt x="167" y="105"/>
                    </a:lnTo>
                    <a:lnTo>
                      <a:pt x="169" y="108"/>
                    </a:lnTo>
                    <a:lnTo>
                      <a:pt x="169" y="110"/>
                    </a:lnTo>
                    <a:lnTo>
                      <a:pt x="169" y="112"/>
                    </a:lnTo>
                    <a:lnTo>
                      <a:pt x="169" y="113"/>
                    </a:lnTo>
                    <a:lnTo>
                      <a:pt x="169" y="115"/>
                    </a:lnTo>
                    <a:lnTo>
                      <a:pt x="171" y="117"/>
                    </a:lnTo>
                    <a:lnTo>
                      <a:pt x="174" y="117"/>
                    </a:lnTo>
                    <a:lnTo>
                      <a:pt x="176" y="117"/>
                    </a:lnTo>
                    <a:lnTo>
                      <a:pt x="177" y="115"/>
                    </a:lnTo>
                    <a:lnTo>
                      <a:pt x="177" y="113"/>
                    </a:lnTo>
                    <a:lnTo>
                      <a:pt x="176" y="112"/>
                    </a:lnTo>
                    <a:lnTo>
                      <a:pt x="176" y="110"/>
                    </a:lnTo>
                    <a:lnTo>
                      <a:pt x="176" y="107"/>
                    </a:lnTo>
                    <a:lnTo>
                      <a:pt x="177" y="105"/>
                    </a:lnTo>
                    <a:lnTo>
                      <a:pt x="179" y="105"/>
                    </a:lnTo>
                    <a:lnTo>
                      <a:pt x="182" y="105"/>
                    </a:lnTo>
                    <a:lnTo>
                      <a:pt x="182" y="104"/>
                    </a:lnTo>
                    <a:lnTo>
                      <a:pt x="182" y="105"/>
                    </a:lnTo>
                    <a:lnTo>
                      <a:pt x="184" y="107"/>
                    </a:lnTo>
                    <a:lnTo>
                      <a:pt x="187" y="110"/>
                    </a:lnTo>
                    <a:lnTo>
                      <a:pt x="192" y="108"/>
                    </a:lnTo>
                    <a:lnTo>
                      <a:pt x="200" y="110"/>
                    </a:lnTo>
                    <a:lnTo>
                      <a:pt x="202" y="110"/>
                    </a:lnTo>
                    <a:lnTo>
                      <a:pt x="204" y="110"/>
                    </a:lnTo>
                    <a:lnTo>
                      <a:pt x="204" y="108"/>
                    </a:lnTo>
                    <a:lnTo>
                      <a:pt x="205" y="107"/>
                    </a:lnTo>
                    <a:lnTo>
                      <a:pt x="209" y="102"/>
                    </a:lnTo>
                    <a:lnTo>
                      <a:pt x="212" y="100"/>
                    </a:lnTo>
                    <a:lnTo>
                      <a:pt x="210" y="97"/>
                    </a:lnTo>
                    <a:lnTo>
                      <a:pt x="210" y="95"/>
                    </a:lnTo>
                    <a:lnTo>
                      <a:pt x="207" y="94"/>
                    </a:lnTo>
                    <a:lnTo>
                      <a:pt x="204" y="92"/>
                    </a:lnTo>
                    <a:lnTo>
                      <a:pt x="205" y="92"/>
                    </a:lnTo>
                    <a:lnTo>
                      <a:pt x="204" y="89"/>
                    </a:lnTo>
                    <a:lnTo>
                      <a:pt x="202" y="87"/>
                    </a:lnTo>
                    <a:lnTo>
                      <a:pt x="204" y="89"/>
                    </a:lnTo>
                    <a:lnTo>
                      <a:pt x="205" y="92"/>
                    </a:lnTo>
                    <a:lnTo>
                      <a:pt x="207" y="94"/>
                    </a:lnTo>
                    <a:lnTo>
                      <a:pt x="210" y="94"/>
                    </a:lnTo>
                    <a:lnTo>
                      <a:pt x="212" y="95"/>
                    </a:lnTo>
                    <a:lnTo>
                      <a:pt x="212" y="100"/>
                    </a:lnTo>
                    <a:lnTo>
                      <a:pt x="213" y="100"/>
                    </a:lnTo>
                    <a:lnTo>
                      <a:pt x="225" y="99"/>
                    </a:lnTo>
                    <a:lnTo>
                      <a:pt x="228" y="100"/>
                    </a:lnTo>
                    <a:lnTo>
                      <a:pt x="235" y="102"/>
                    </a:lnTo>
                    <a:lnTo>
                      <a:pt x="241" y="107"/>
                    </a:lnTo>
                    <a:lnTo>
                      <a:pt x="245" y="117"/>
                    </a:lnTo>
                    <a:lnTo>
                      <a:pt x="253" y="115"/>
                    </a:lnTo>
                    <a:lnTo>
                      <a:pt x="253" y="112"/>
                    </a:lnTo>
                    <a:lnTo>
                      <a:pt x="259" y="108"/>
                    </a:lnTo>
                    <a:lnTo>
                      <a:pt x="258" y="105"/>
                    </a:lnTo>
                    <a:lnTo>
                      <a:pt x="259" y="105"/>
                    </a:lnTo>
                    <a:lnTo>
                      <a:pt x="263" y="105"/>
                    </a:lnTo>
                    <a:lnTo>
                      <a:pt x="261" y="99"/>
                    </a:lnTo>
                    <a:lnTo>
                      <a:pt x="264" y="99"/>
                    </a:lnTo>
                    <a:lnTo>
                      <a:pt x="263" y="97"/>
                    </a:lnTo>
                    <a:lnTo>
                      <a:pt x="264" y="95"/>
                    </a:lnTo>
                    <a:lnTo>
                      <a:pt x="266" y="94"/>
                    </a:lnTo>
                    <a:lnTo>
                      <a:pt x="268" y="97"/>
                    </a:lnTo>
                    <a:lnTo>
                      <a:pt x="268" y="99"/>
                    </a:lnTo>
                    <a:lnTo>
                      <a:pt x="271" y="99"/>
                    </a:lnTo>
                    <a:lnTo>
                      <a:pt x="273" y="97"/>
                    </a:lnTo>
                    <a:lnTo>
                      <a:pt x="271" y="90"/>
                    </a:lnTo>
                    <a:lnTo>
                      <a:pt x="281" y="90"/>
                    </a:lnTo>
                    <a:lnTo>
                      <a:pt x="286" y="87"/>
                    </a:lnTo>
                    <a:lnTo>
                      <a:pt x="287" y="87"/>
                    </a:lnTo>
                    <a:lnTo>
                      <a:pt x="292" y="87"/>
                    </a:lnTo>
                    <a:lnTo>
                      <a:pt x="294" y="87"/>
                    </a:lnTo>
                    <a:lnTo>
                      <a:pt x="296" y="85"/>
                    </a:lnTo>
                    <a:lnTo>
                      <a:pt x="294" y="81"/>
                    </a:lnTo>
                    <a:lnTo>
                      <a:pt x="289" y="77"/>
                    </a:lnTo>
                    <a:lnTo>
                      <a:pt x="289" y="72"/>
                    </a:lnTo>
                    <a:lnTo>
                      <a:pt x="287" y="72"/>
                    </a:lnTo>
                    <a:lnTo>
                      <a:pt x="281" y="72"/>
                    </a:lnTo>
                    <a:lnTo>
                      <a:pt x="279" y="67"/>
                    </a:lnTo>
                    <a:lnTo>
                      <a:pt x="274" y="58"/>
                    </a:lnTo>
                    <a:lnTo>
                      <a:pt x="273" y="53"/>
                    </a:lnTo>
                    <a:lnTo>
                      <a:pt x="269" y="53"/>
                    </a:lnTo>
                    <a:lnTo>
                      <a:pt x="268" y="51"/>
                    </a:lnTo>
                    <a:lnTo>
                      <a:pt x="271" y="48"/>
                    </a:lnTo>
                    <a:lnTo>
                      <a:pt x="269" y="44"/>
                    </a:lnTo>
                    <a:lnTo>
                      <a:pt x="268" y="43"/>
                    </a:lnTo>
                    <a:lnTo>
                      <a:pt x="258" y="34"/>
                    </a:lnTo>
                    <a:lnTo>
                      <a:pt x="248" y="38"/>
                    </a:lnTo>
                    <a:lnTo>
                      <a:pt x="236" y="39"/>
                    </a:lnTo>
                    <a:lnTo>
                      <a:pt x="233" y="39"/>
                    </a:lnTo>
                    <a:lnTo>
                      <a:pt x="232" y="39"/>
                    </a:lnTo>
                    <a:lnTo>
                      <a:pt x="227" y="39"/>
                    </a:lnTo>
                    <a:lnTo>
                      <a:pt x="223" y="41"/>
                    </a:lnTo>
                    <a:lnTo>
                      <a:pt x="220" y="44"/>
                    </a:lnTo>
                    <a:lnTo>
                      <a:pt x="218" y="44"/>
                    </a:lnTo>
                    <a:lnTo>
                      <a:pt x="217" y="44"/>
                    </a:lnTo>
                    <a:lnTo>
                      <a:pt x="213" y="46"/>
                    </a:lnTo>
                    <a:lnTo>
                      <a:pt x="213" y="44"/>
                    </a:lnTo>
                    <a:lnTo>
                      <a:pt x="210" y="44"/>
                    </a:lnTo>
                    <a:lnTo>
                      <a:pt x="212" y="46"/>
                    </a:lnTo>
                    <a:lnTo>
                      <a:pt x="210" y="49"/>
                    </a:lnTo>
                    <a:lnTo>
                      <a:pt x="209" y="49"/>
                    </a:lnTo>
                    <a:lnTo>
                      <a:pt x="207" y="49"/>
                    </a:lnTo>
                    <a:lnTo>
                      <a:pt x="202" y="49"/>
                    </a:lnTo>
                    <a:lnTo>
                      <a:pt x="200" y="49"/>
                    </a:lnTo>
                    <a:lnTo>
                      <a:pt x="200" y="48"/>
                    </a:lnTo>
                    <a:lnTo>
                      <a:pt x="197" y="46"/>
                    </a:lnTo>
                    <a:lnTo>
                      <a:pt x="195" y="44"/>
                    </a:lnTo>
                    <a:lnTo>
                      <a:pt x="197" y="43"/>
                    </a:lnTo>
                    <a:lnTo>
                      <a:pt x="192" y="44"/>
                    </a:lnTo>
                    <a:lnTo>
                      <a:pt x="192" y="43"/>
                    </a:lnTo>
                    <a:lnTo>
                      <a:pt x="190" y="41"/>
                    </a:lnTo>
                    <a:lnTo>
                      <a:pt x="186" y="36"/>
                    </a:lnTo>
                    <a:lnTo>
                      <a:pt x="187" y="34"/>
                    </a:lnTo>
                    <a:lnTo>
                      <a:pt x="187" y="33"/>
                    </a:lnTo>
                    <a:lnTo>
                      <a:pt x="187" y="31"/>
                    </a:lnTo>
                    <a:lnTo>
                      <a:pt x="186" y="30"/>
                    </a:lnTo>
                    <a:lnTo>
                      <a:pt x="181" y="30"/>
                    </a:lnTo>
                    <a:lnTo>
                      <a:pt x="174" y="26"/>
                    </a:lnTo>
                    <a:lnTo>
                      <a:pt x="174" y="25"/>
                    </a:lnTo>
                    <a:lnTo>
                      <a:pt x="176" y="18"/>
                    </a:lnTo>
                    <a:lnTo>
                      <a:pt x="174" y="13"/>
                    </a:lnTo>
                    <a:lnTo>
                      <a:pt x="174" y="10"/>
                    </a:lnTo>
                    <a:lnTo>
                      <a:pt x="174" y="7"/>
                    </a:lnTo>
                    <a:lnTo>
                      <a:pt x="169" y="7"/>
                    </a:lnTo>
                    <a:lnTo>
                      <a:pt x="167" y="7"/>
                    </a:lnTo>
                    <a:lnTo>
                      <a:pt x="164" y="5"/>
                    </a:lnTo>
                    <a:lnTo>
                      <a:pt x="161" y="5"/>
                    </a:lnTo>
                    <a:lnTo>
                      <a:pt x="156" y="5"/>
                    </a:lnTo>
                    <a:lnTo>
                      <a:pt x="151" y="3"/>
                    </a:lnTo>
                    <a:lnTo>
                      <a:pt x="144" y="2"/>
                    </a:lnTo>
                    <a:lnTo>
                      <a:pt x="141" y="0"/>
                    </a:lnTo>
                    <a:lnTo>
                      <a:pt x="140" y="2"/>
                    </a:lnTo>
                    <a:lnTo>
                      <a:pt x="126" y="5"/>
                    </a:lnTo>
                    <a:lnTo>
                      <a:pt x="121" y="3"/>
                    </a:lnTo>
                    <a:lnTo>
                      <a:pt x="120" y="7"/>
                    </a:lnTo>
                    <a:lnTo>
                      <a:pt x="117" y="11"/>
                    </a:lnTo>
                    <a:lnTo>
                      <a:pt x="115" y="13"/>
                    </a:lnTo>
                    <a:lnTo>
                      <a:pt x="112" y="16"/>
                    </a:lnTo>
                    <a:lnTo>
                      <a:pt x="108" y="13"/>
                    </a:lnTo>
                    <a:lnTo>
                      <a:pt x="107" y="13"/>
                    </a:lnTo>
                    <a:lnTo>
                      <a:pt x="105" y="15"/>
                    </a:lnTo>
                    <a:lnTo>
                      <a:pt x="105" y="16"/>
                    </a:lnTo>
                    <a:lnTo>
                      <a:pt x="103" y="18"/>
                    </a:lnTo>
                    <a:lnTo>
                      <a:pt x="102" y="18"/>
                    </a:lnTo>
                    <a:lnTo>
                      <a:pt x="100" y="18"/>
                    </a:lnTo>
                    <a:lnTo>
                      <a:pt x="98" y="20"/>
                    </a:lnTo>
                    <a:lnTo>
                      <a:pt x="98" y="18"/>
                    </a:lnTo>
                    <a:lnTo>
                      <a:pt x="90" y="21"/>
                    </a:lnTo>
                    <a:lnTo>
                      <a:pt x="90" y="26"/>
                    </a:lnTo>
                    <a:lnTo>
                      <a:pt x="89" y="28"/>
                    </a:lnTo>
                    <a:lnTo>
                      <a:pt x="87" y="28"/>
                    </a:lnTo>
                    <a:lnTo>
                      <a:pt x="85" y="28"/>
                    </a:lnTo>
                    <a:lnTo>
                      <a:pt x="84" y="28"/>
                    </a:lnTo>
                    <a:lnTo>
                      <a:pt x="82" y="30"/>
                    </a:lnTo>
                    <a:lnTo>
                      <a:pt x="82" y="31"/>
                    </a:lnTo>
                    <a:lnTo>
                      <a:pt x="74" y="33"/>
                    </a:lnTo>
                    <a:lnTo>
                      <a:pt x="72" y="33"/>
                    </a:lnTo>
                    <a:lnTo>
                      <a:pt x="67" y="30"/>
                    </a:lnTo>
                    <a:lnTo>
                      <a:pt x="62" y="33"/>
                    </a:lnTo>
                    <a:lnTo>
                      <a:pt x="59" y="34"/>
                    </a:lnTo>
                    <a:lnTo>
                      <a:pt x="59" y="36"/>
                    </a:lnTo>
                    <a:lnTo>
                      <a:pt x="57" y="36"/>
                    </a:lnTo>
                    <a:lnTo>
                      <a:pt x="51" y="39"/>
                    </a:lnTo>
                    <a:lnTo>
                      <a:pt x="49" y="41"/>
                    </a:lnTo>
                    <a:lnTo>
                      <a:pt x="48" y="43"/>
                    </a:lnTo>
                    <a:lnTo>
                      <a:pt x="46" y="43"/>
                    </a:lnTo>
                    <a:lnTo>
                      <a:pt x="43" y="44"/>
                    </a:lnTo>
                    <a:lnTo>
                      <a:pt x="36" y="46"/>
                    </a:lnTo>
                    <a:lnTo>
                      <a:pt x="34" y="44"/>
                    </a:lnTo>
                    <a:lnTo>
                      <a:pt x="31" y="43"/>
                    </a:lnTo>
                    <a:lnTo>
                      <a:pt x="25" y="41"/>
                    </a:lnTo>
                    <a:lnTo>
                      <a:pt x="23" y="41"/>
                    </a:lnTo>
                    <a:lnTo>
                      <a:pt x="18" y="46"/>
                    </a:lnTo>
                    <a:lnTo>
                      <a:pt x="16" y="44"/>
                    </a:lnTo>
                    <a:lnTo>
                      <a:pt x="3" y="34"/>
                    </a:lnTo>
                    <a:lnTo>
                      <a:pt x="3" y="36"/>
                    </a:lnTo>
                    <a:lnTo>
                      <a:pt x="3" y="41"/>
                    </a:lnTo>
                    <a:lnTo>
                      <a:pt x="3" y="44"/>
                    </a:lnTo>
                    <a:lnTo>
                      <a:pt x="3" y="49"/>
                    </a:lnTo>
                    <a:lnTo>
                      <a:pt x="3" y="51"/>
                    </a:lnTo>
                    <a:lnTo>
                      <a:pt x="5" y="53"/>
                    </a:lnTo>
                    <a:lnTo>
                      <a:pt x="3" y="53"/>
                    </a:lnTo>
                    <a:lnTo>
                      <a:pt x="3" y="58"/>
                    </a:lnTo>
                    <a:lnTo>
                      <a:pt x="5" y="62"/>
                    </a:lnTo>
                    <a:lnTo>
                      <a:pt x="6" y="66"/>
                    </a:lnTo>
                    <a:lnTo>
                      <a:pt x="8" y="67"/>
                    </a:lnTo>
                    <a:lnTo>
                      <a:pt x="10" y="74"/>
                    </a:lnTo>
                    <a:lnTo>
                      <a:pt x="11" y="76"/>
                    </a:lnTo>
                    <a:lnTo>
                      <a:pt x="11" y="79"/>
                    </a:lnTo>
                    <a:lnTo>
                      <a:pt x="8" y="81"/>
                    </a:lnTo>
                    <a:lnTo>
                      <a:pt x="6" y="84"/>
                    </a:lnTo>
                    <a:lnTo>
                      <a:pt x="5" y="85"/>
                    </a:lnTo>
                    <a:lnTo>
                      <a:pt x="6" y="90"/>
                    </a:lnTo>
                    <a:lnTo>
                      <a:pt x="6" y="92"/>
                    </a:lnTo>
                    <a:lnTo>
                      <a:pt x="6" y="99"/>
                    </a:lnTo>
                    <a:lnTo>
                      <a:pt x="5" y="100"/>
                    </a:lnTo>
                    <a:lnTo>
                      <a:pt x="8" y="104"/>
                    </a:lnTo>
                    <a:lnTo>
                      <a:pt x="8" y="105"/>
                    </a:lnTo>
                    <a:lnTo>
                      <a:pt x="6" y="112"/>
                    </a:lnTo>
                    <a:lnTo>
                      <a:pt x="3" y="115"/>
                    </a:lnTo>
                    <a:lnTo>
                      <a:pt x="0" y="127"/>
                    </a:lnTo>
                    <a:lnTo>
                      <a:pt x="3" y="128"/>
                    </a:lnTo>
                    <a:lnTo>
                      <a:pt x="6" y="131"/>
                    </a:lnTo>
                    <a:lnTo>
                      <a:pt x="11" y="131"/>
                    </a:lnTo>
                    <a:lnTo>
                      <a:pt x="11" y="133"/>
                    </a:lnTo>
                    <a:lnTo>
                      <a:pt x="15" y="133"/>
                    </a:lnTo>
                    <a:lnTo>
                      <a:pt x="18" y="133"/>
                    </a:lnTo>
                    <a:lnTo>
                      <a:pt x="16" y="136"/>
                    </a:lnTo>
                    <a:lnTo>
                      <a:pt x="18" y="145"/>
                    </a:lnTo>
                    <a:lnTo>
                      <a:pt x="21" y="143"/>
                    </a:lnTo>
                    <a:lnTo>
                      <a:pt x="21" y="145"/>
                    </a:lnTo>
                    <a:lnTo>
                      <a:pt x="21" y="146"/>
                    </a:lnTo>
                    <a:lnTo>
                      <a:pt x="25" y="146"/>
                    </a:lnTo>
                    <a:lnTo>
                      <a:pt x="25" y="148"/>
                    </a:lnTo>
                    <a:lnTo>
                      <a:pt x="28" y="150"/>
                    </a:lnTo>
                    <a:lnTo>
                      <a:pt x="28" y="148"/>
                    </a:lnTo>
                    <a:lnTo>
                      <a:pt x="31" y="148"/>
                    </a:lnTo>
                    <a:lnTo>
                      <a:pt x="33" y="148"/>
                    </a:lnTo>
                    <a:lnTo>
                      <a:pt x="36" y="153"/>
                    </a:lnTo>
                    <a:lnTo>
                      <a:pt x="41" y="153"/>
                    </a:lnTo>
                    <a:lnTo>
                      <a:pt x="43" y="153"/>
                    </a:lnTo>
                    <a:lnTo>
                      <a:pt x="43" y="150"/>
                    </a:lnTo>
                    <a:lnTo>
                      <a:pt x="43" y="148"/>
                    </a:lnTo>
                    <a:lnTo>
                      <a:pt x="46" y="146"/>
                    </a:lnTo>
                    <a:lnTo>
                      <a:pt x="48" y="145"/>
                    </a:lnTo>
                    <a:lnTo>
                      <a:pt x="49" y="141"/>
                    </a:lnTo>
                    <a:lnTo>
                      <a:pt x="46" y="141"/>
                    </a:lnTo>
                    <a:lnTo>
                      <a:pt x="44" y="140"/>
                    </a:lnTo>
                    <a:lnTo>
                      <a:pt x="43" y="138"/>
                    </a:lnTo>
                    <a:lnTo>
                      <a:pt x="44" y="136"/>
                    </a:lnTo>
                    <a:lnTo>
                      <a:pt x="46" y="133"/>
                    </a:lnTo>
                    <a:lnTo>
                      <a:pt x="48" y="133"/>
                    </a:lnTo>
                    <a:lnTo>
                      <a:pt x="49" y="133"/>
                    </a:lnTo>
                    <a:lnTo>
                      <a:pt x="51" y="133"/>
                    </a:lnTo>
                    <a:lnTo>
                      <a:pt x="52" y="133"/>
                    </a:lnTo>
                    <a:lnTo>
                      <a:pt x="54" y="133"/>
                    </a:lnTo>
                    <a:lnTo>
                      <a:pt x="57" y="133"/>
                    </a:lnTo>
                    <a:lnTo>
                      <a:pt x="59" y="131"/>
                    </a:lnTo>
                    <a:lnTo>
                      <a:pt x="61" y="135"/>
                    </a:lnTo>
                    <a:lnTo>
                      <a:pt x="62" y="135"/>
                    </a:lnTo>
                    <a:lnTo>
                      <a:pt x="62" y="133"/>
                    </a:lnTo>
                    <a:lnTo>
                      <a:pt x="64" y="133"/>
                    </a:lnTo>
                    <a:lnTo>
                      <a:pt x="64" y="131"/>
                    </a:lnTo>
                    <a:lnTo>
                      <a:pt x="64" y="128"/>
                    </a:lnTo>
                    <a:lnTo>
                      <a:pt x="66" y="128"/>
                    </a:lnTo>
                    <a:lnTo>
                      <a:pt x="66" y="127"/>
                    </a:lnTo>
                    <a:lnTo>
                      <a:pt x="66" y="125"/>
                    </a:lnTo>
                    <a:lnTo>
                      <a:pt x="72" y="120"/>
                    </a:lnTo>
                    <a:lnTo>
                      <a:pt x="72" y="118"/>
                    </a:lnTo>
                    <a:lnTo>
                      <a:pt x="74" y="117"/>
                    </a:lnTo>
                    <a:lnTo>
                      <a:pt x="77" y="117"/>
                    </a:lnTo>
                    <a:lnTo>
                      <a:pt x="80" y="118"/>
                    </a:lnTo>
                    <a:lnTo>
                      <a:pt x="84" y="123"/>
                    </a:lnTo>
                    <a:lnTo>
                      <a:pt x="89" y="125"/>
                    </a:lnTo>
                    <a:lnTo>
                      <a:pt x="90" y="120"/>
                    </a:lnTo>
                    <a:lnTo>
                      <a:pt x="90" y="118"/>
                    </a:lnTo>
                    <a:lnTo>
                      <a:pt x="90" y="117"/>
                    </a:lnTo>
                    <a:lnTo>
                      <a:pt x="92" y="117"/>
                    </a:lnTo>
                    <a:lnTo>
                      <a:pt x="92" y="115"/>
                    </a:lnTo>
                    <a:lnTo>
                      <a:pt x="94" y="115"/>
                    </a:lnTo>
                    <a:lnTo>
                      <a:pt x="97" y="115"/>
                    </a:lnTo>
                    <a:lnTo>
                      <a:pt x="98" y="115"/>
                    </a:lnTo>
                    <a:lnTo>
                      <a:pt x="98" y="117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3"/>
                    </a:lnTo>
                    <a:lnTo>
                      <a:pt x="105" y="128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3" y="128"/>
                    </a:lnTo>
                    <a:lnTo>
                      <a:pt x="115" y="123"/>
                    </a:lnTo>
                    <a:lnTo>
                      <a:pt x="115" y="122"/>
                    </a:lnTo>
                    <a:lnTo>
                      <a:pt x="113" y="122"/>
                    </a:lnTo>
                    <a:lnTo>
                      <a:pt x="117" y="122"/>
                    </a:lnTo>
                    <a:lnTo>
                      <a:pt x="118" y="118"/>
                    </a:lnTo>
                    <a:lnTo>
                      <a:pt x="120" y="118"/>
                    </a:lnTo>
                    <a:lnTo>
                      <a:pt x="123" y="118"/>
                    </a:lnTo>
                    <a:lnTo>
                      <a:pt x="126" y="117"/>
                    </a:lnTo>
                    <a:lnTo>
                      <a:pt x="130" y="118"/>
                    </a:lnTo>
                    <a:lnTo>
                      <a:pt x="133" y="117"/>
                    </a:lnTo>
                    <a:lnTo>
                      <a:pt x="133" y="115"/>
                    </a:lnTo>
                    <a:lnTo>
                      <a:pt x="135" y="112"/>
                    </a:lnTo>
                    <a:lnTo>
                      <a:pt x="136" y="104"/>
                    </a:lnTo>
                    <a:lnTo>
                      <a:pt x="140" y="104"/>
                    </a:lnTo>
                    <a:lnTo>
                      <a:pt x="141" y="104"/>
                    </a:lnTo>
                    <a:lnTo>
                      <a:pt x="151" y="105"/>
                    </a:lnTo>
                    <a:close/>
                    <a:moveTo>
                      <a:pt x="92" y="115"/>
                    </a:moveTo>
                    <a:lnTo>
                      <a:pt x="92" y="117"/>
                    </a:lnTo>
                    <a:lnTo>
                      <a:pt x="92" y="115"/>
                    </a:lnTo>
                    <a:close/>
                    <a:moveTo>
                      <a:pt x="79" y="117"/>
                    </a:moveTo>
                    <a:lnTo>
                      <a:pt x="80" y="117"/>
                    </a:lnTo>
                    <a:lnTo>
                      <a:pt x="80" y="118"/>
                    </a:lnTo>
                    <a:lnTo>
                      <a:pt x="79" y="118"/>
                    </a:lnTo>
                    <a:lnTo>
                      <a:pt x="79" y="117"/>
                    </a:lnTo>
                    <a:close/>
                    <a:moveTo>
                      <a:pt x="66" y="125"/>
                    </a:moveTo>
                    <a:lnTo>
                      <a:pt x="66" y="128"/>
                    </a:lnTo>
                    <a:lnTo>
                      <a:pt x="66" y="125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 21">
                <a:extLst>
                  <a:ext uri="{FF2B5EF4-FFF2-40B4-BE49-F238E27FC236}">
                    <a16:creationId xmlns:a16="http://schemas.microsoft.com/office/drawing/2014/main" id="{5F327739-D8F9-4D8F-B427-88DDB9C0DB7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19613" y="4860924"/>
                <a:ext cx="1341438" cy="701675"/>
              </a:xfrm>
              <a:custGeom>
                <a:avLst/>
                <a:gdLst>
                  <a:gd name="T0" fmla="*/ 95 w 845"/>
                  <a:gd name="T1" fmla="*/ 411 h 442"/>
                  <a:gd name="T2" fmla="*/ 150 w 845"/>
                  <a:gd name="T3" fmla="*/ 398 h 442"/>
                  <a:gd name="T4" fmla="*/ 250 w 845"/>
                  <a:gd name="T5" fmla="*/ 385 h 442"/>
                  <a:gd name="T6" fmla="*/ 235 w 845"/>
                  <a:gd name="T7" fmla="*/ 376 h 442"/>
                  <a:gd name="T8" fmla="*/ 296 w 845"/>
                  <a:gd name="T9" fmla="*/ 391 h 442"/>
                  <a:gd name="T10" fmla="*/ 355 w 845"/>
                  <a:gd name="T11" fmla="*/ 409 h 442"/>
                  <a:gd name="T12" fmla="*/ 373 w 845"/>
                  <a:gd name="T13" fmla="*/ 418 h 442"/>
                  <a:gd name="T14" fmla="*/ 457 w 845"/>
                  <a:gd name="T15" fmla="*/ 396 h 442"/>
                  <a:gd name="T16" fmla="*/ 572 w 845"/>
                  <a:gd name="T17" fmla="*/ 358 h 442"/>
                  <a:gd name="T18" fmla="*/ 675 w 845"/>
                  <a:gd name="T19" fmla="*/ 309 h 442"/>
                  <a:gd name="T20" fmla="*/ 754 w 845"/>
                  <a:gd name="T21" fmla="*/ 243 h 442"/>
                  <a:gd name="T22" fmla="*/ 808 w 845"/>
                  <a:gd name="T23" fmla="*/ 220 h 442"/>
                  <a:gd name="T24" fmla="*/ 808 w 845"/>
                  <a:gd name="T25" fmla="*/ 118 h 442"/>
                  <a:gd name="T26" fmla="*/ 836 w 845"/>
                  <a:gd name="T27" fmla="*/ 102 h 442"/>
                  <a:gd name="T28" fmla="*/ 805 w 845"/>
                  <a:gd name="T29" fmla="*/ 71 h 442"/>
                  <a:gd name="T30" fmla="*/ 697 w 845"/>
                  <a:gd name="T31" fmla="*/ 84 h 442"/>
                  <a:gd name="T32" fmla="*/ 657 w 845"/>
                  <a:gd name="T33" fmla="*/ 103 h 442"/>
                  <a:gd name="T34" fmla="*/ 623 w 845"/>
                  <a:gd name="T35" fmla="*/ 87 h 442"/>
                  <a:gd name="T36" fmla="*/ 597 w 845"/>
                  <a:gd name="T37" fmla="*/ 67 h 442"/>
                  <a:gd name="T38" fmla="*/ 583 w 845"/>
                  <a:gd name="T39" fmla="*/ 59 h 442"/>
                  <a:gd name="T40" fmla="*/ 570 w 845"/>
                  <a:gd name="T41" fmla="*/ 76 h 442"/>
                  <a:gd name="T42" fmla="*/ 544 w 845"/>
                  <a:gd name="T43" fmla="*/ 69 h 442"/>
                  <a:gd name="T44" fmla="*/ 495 w 845"/>
                  <a:gd name="T45" fmla="*/ 92 h 442"/>
                  <a:gd name="T46" fmla="*/ 508 w 845"/>
                  <a:gd name="T47" fmla="*/ 74 h 442"/>
                  <a:gd name="T48" fmla="*/ 552 w 845"/>
                  <a:gd name="T49" fmla="*/ 51 h 442"/>
                  <a:gd name="T50" fmla="*/ 572 w 845"/>
                  <a:gd name="T51" fmla="*/ 23 h 442"/>
                  <a:gd name="T52" fmla="*/ 528 w 845"/>
                  <a:gd name="T53" fmla="*/ 15 h 442"/>
                  <a:gd name="T54" fmla="*/ 445 w 845"/>
                  <a:gd name="T55" fmla="*/ 28 h 442"/>
                  <a:gd name="T56" fmla="*/ 385 w 845"/>
                  <a:gd name="T57" fmla="*/ 2 h 442"/>
                  <a:gd name="T58" fmla="*/ 330 w 845"/>
                  <a:gd name="T59" fmla="*/ 16 h 442"/>
                  <a:gd name="T60" fmla="*/ 299 w 845"/>
                  <a:gd name="T61" fmla="*/ 3 h 442"/>
                  <a:gd name="T62" fmla="*/ 263 w 845"/>
                  <a:gd name="T63" fmla="*/ 28 h 442"/>
                  <a:gd name="T64" fmla="*/ 227 w 845"/>
                  <a:gd name="T65" fmla="*/ 38 h 442"/>
                  <a:gd name="T66" fmla="*/ 209 w 845"/>
                  <a:gd name="T67" fmla="*/ 31 h 442"/>
                  <a:gd name="T68" fmla="*/ 204 w 845"/>
                  <a:gd name="T69" fmla="*/ 59 h 442"/>
                  <a:gd name="T70" fmla="*/ 222 w 845"/>
                  <a:gd name="T71" fmla="*/ 90 h 442"/>
                  <a:gd name="T72" fmla="*/ 255 w 845"/>
                  <a:gd name="T73" fmla="*/ 84 h 442"/>
                  <a:gd name="T74" fmla="*/ 279 w 845"/>
                  <a:gd name="T75" fmla="*/ 108 h 442"/>
                  <a:gd name="T76" fmla="*/ 260 w 845"/>
                  <a:gd name="T77" fmla="*/ 145 h 442"/>
                  <a:gd name="T78" fmla="*/ 261 w 845"/>
                  <a:gd name="T79" fmla="*/ 179 h 442"/>
                  <a:gd name="T80" fmla="*/ 268 w 845"/>
                  <a:gd name="T81" fmla="*/ 197 h 442"/>
                  <a:gd name="T82" fmla="*/ 181 w 845"/>
                  <a:gd name="T83" fmla="*/ 233 h 442"/>
                  <a:gd name="T84" fmla="*/ 125 w 845"/>
                  <a:gd name="T85" fmla="*/ 255 h 442"/>
                  <a:gd name="T86" fmla="*/ 89 w 845"/>
                  <a:gd name="T87" fmla="*/ 276 h 442"/>
                  <a:gd name="T88" fmla="*/ 33 w 845"/>
                  <a:gd name="T89" fmla="*/ 265 h 442"/>
                  <a:gd name="T90" fmla="*/ 0 w 845"/>
                  <a:gd name="T91" fmla="*/ 348 h 442"/>
                  <a:gd name="T92" fmla="*/ 18 w 845"/>
                  <a:gd name="T93" fmla="*/ 390 h 442"/>
                  <a:gd name="T94" fmla="*/ 38 w 845"/>
                  <a:gd name="T95" fmla="*/ 383 h 442"/>
                  <a:gd name="T96" fmla="*/ 40 w 845"/>
                  <a:gd name="T97" fmla="*/ 399 h 442"/>
                  <a:gd name="T98" fmla="*/ 63 w 845"/>
                  <a:gd name="T99" fmla="*/ 439 h 442"/>
                  <a:gd name="T100" fmla="*/ 652 w 845"/>
                  <a:gd name="T101" fmla="*/ 54 h 442"/>
                  <a:gd name="T102" fmla="*/ 593 w 845"/>
                  <a:gd name="T103" fmla="*/ 62 h 442"/>
                  <a:gd name="T104" fmla="*/ 638 w 845"/>
                  <a:gd name="T105" fmla="*/ 84 h 442"/>
                  <a:gd name="T106" fmla="*/ 578 w 845"/>
                  <a:gd name="T107" fmla="*/ 57 h 442"/>
                  <a:gd name="T108" fmla="*/ 537 w 845"/>
                  <a:gd name="T109" fmla="*/ 61 h 442"/>
                  <a:gd name="T110" fmla="*/ 25 w 845"/>
                  <a:gd name="T111" fmla="*/ 393 h 442"/>
                  <a:gd name="T112" fmla="*/ 41 w 845"/>
                  <a:gd name="T113" fmla="*/ 90 h 442"/>
                  <a:gd name="T114" fmla="*/ 28 w 845"/>
                  <a:gd name="T115" fmla="*/ 141 h 442"/>
                  <a:gd name="T116" fmla="*/ 43 w 845"/>
                  <a:gd name="T117" fmla="*/ 205 h 442"/>
                  <a:gd name="T118" fmla="*/ 81 w 845"/>
                  <a:gd name="T119" fmla="*/ 177 h 442"/>
                  <a:gd name="T120" fmla="*/ 91 w 845"/>
                  <a:gd name="T121" fmla="*/ 125 h 442"/>
                  <a:gd name="T122" fmla="*/ 94 w 845"/>
                  <a:gd name="T123" fmla="*/ 77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45" h="442">
                    <a:moveTo>
                      <a:pt x="63" y="439"/>
                    </a:moveTo>
                    <a:lnTo>
                      <a:pt x="64" y="437"/>
                    </a:lnTo>
                    <a:lnTo>
                      <a:pt x="72" y="422"/>
                    </a:lnTo>
                    <a:lnTo>
                      <a:pt x="69" y="426"/>
                    </a:lnTo>
                    <a:lnTo>
                      <a:pt x="66" y="421"/>
                    </a:lnTo>
                    <a:lnTo>
                      <a:pt x="61" y="421"/>
                    </a:lnTo>
                    <a:lnTo>
                      <a:pt x="64" y="418"/>
                    </a:lnTo>
                    <a:lnTo>
                      <a:pt x="63" y="416"/>
                    </a:lnTo>
                    <a:lnTo>
                      <a:pt x="69" y="418"/>
                    </a:lnTo>
                    <a:lnTo>
                      <a:pt x="69" y="414"/>
                    </a:lnTo>
                    <a:lnTo>
                      <a:pt x="68" y="414"/>
                    </a:lnTo>
                    <a:lnTo>
                      <a:pt x="69" y="414"/>
                    </a:lnTo>
                    <a:lnTo>
                      <a:pt x="71" y="414"/>
                    </a:lnTo>
                    <a:lnTo>
                      <a:pt x="71" y="418"/>
                    </a:lnTo>
                    <a:lnTo>
                      <a:pt x="72" y="419"/>
                    </a:lnTo>
                    <a:lnTo>
                      <a:pt x="72" y="421"/>
                    </a:lnTo>
                    <a:lnTo>
                      <a:pt x="72" y="422"/>
                    </a:lnTo>
                    <a:lnTo>
                      <a:pt x="81" y="416"/>
                    </a:lnTo>
                    <a:lnTo>
                      <a:pt x="86" y="413"/>
                    </a:lnTo>
                    <a:lnTo>
                      <a:pt x="95" y="411"/>
                    </a:lnTo>
                    <a:lnTo>
                      <a:pt x="99" y="409"/>
                    </a:lnTo>
                    <a:lnTo>
                      <a:pt x="100" y="409"/>
                    </a:lnTo>
                    <a:lnTo>
                      <a:pt x="105" y="408"/>
                    </a:lnTo>
                    <a:lnTo>
                      <a:pt x="109" y="406"/>
                    </a:lnTo>
                    <a:lnTo>
                      <a:pt x="110" y="406"/>
                    </a:lnTo>
                    <a:lnTo>
                      <a:pt x="117" y="406"/>
                    </a:lnTo>
                    <a:lnTo>
                      <a:pt x="122" y="404"/>
                    </a:lnTo>
                    <a:lnTo>
                      <a:pt x="128" y="403"/>
                    </a:lnTo>
                    <a:lnTo>
                      <a:pt x="140" y="399"/>
                    </a:lnTo>
                    <a:lnTo>
                      <a:pt x="146" y="399"/>
                    </a:lnTo>
                    <a:lnTo>
                      <a:pt x="145" y="396"/>
                    </a:lnTo>
                    <a:lnTo>
                      <a:pt x="143" y="393"/>
                    </a:lnTo>
                    <a:lnTo>
                      <a:pt x="141" y="393"/>
                    </a:lnTo>
                    <a:lnTo>
                      <a:pt x="140" y="393"/>
                    </a:lnTo>
                    <a:lnTo>
                      <a:pt x="143" y="393"/>
                    </a:lnTo>
                    <a:lnTo>
                      <a:pt x="145" y="395"/>
                    </a:lnTo>
                    <a:lnTo>
                      <a:pt x="146" y="396"/>
                    </a:lnTo>
                    <a:lnTo>
                      <a:pt x="146" y="398"/>
                    </a:lnTo>
                    <a:lnTo>
                      <a:pt x="148" y="398"/>
                    </a:lnTo>
                    <a:lnTo>
                      <a:pt x="150" y="398"/>
                    </a:lnTo>
                    <a:lnTo>
                      <a:pt x="153" y="398"/>
                    </a:lnTo>
                    <a:lnTo>
                      <a:pt x="158" y="398"/>
                    </a:lnTo>
                    <a:lnTo>
                      <a:pt x="163" y="398"/>
                    </a:lnTo>
                    <a:lnTo>
                      <a:pt x="166" y="398"/>
                    </a:lnTo>
                    <a:lnTo>
                      <a:pt x="169" y="398"/>
                    </a:lnTo>
                    <a:lnTo>
                      <a:pt x="178" y="398"/>
                    </a:lnTo>
                    <a:lnTo>
                      <a:pt x="184" y="398"/>
                    </a:lnTo>
                    <a:lnTo>
                      <a:pt x="189" y="396"/>
                    </a:lnTo>
                    <a:lnTo>
                      <a:pt x="194" y="396"/>
                    </a:lnTo>
                    <a:lnTo>
                      <a:pt x="201" y="396"/>
                    </a:lnTo>
                    <a:lnTo>
                      <a:pt x="204" y="395"/>
                    </a:lnTo>
                    <a:lnTo>
                      <a:pt x="210" y="393"/>
                    </a:lnTo>
                    <a:lnTo>
                      <a:pt x="217" y="391"/>
                    </a:lnTo>
                    <a:lnTo>
                      <a:pt x="220" y="390"/>
                    </a:lnTo>
                    <a:lnTo>
                      <a:pt x="222" y="388"/>
                    </a:lnTo>
                    <a:lnTo>
                      <a:pt x="225" y="388"/>
                    </a:lnTo>
                    <a:lnTo>
                      <a:pt x="230" y="386"/>
                    </a:lnTo>
                    <a:lnTo>
                      <a:pt x="235" y="385"/>
                    </a:lnTo>
                    <a:lnTo>
                      <a:pt x="238" y="385"/>
                    </a:lnTo>
                    <a:lnTo>
                      <a:pt x="250" y="385"/>
                    </a:lnTo>
                    <a:lnTo>
                      <a:pt x="248" y="383"/>
                    </a:lnTo>
                    <a:lnTo>
                      <a:pt x="245" y="381"/>
                    </a:lnTo>
                    <a:lnTo>
                      <a:pt x="243" y="381"/>
                    </a:lnTo>
                    <a:lnTo>
                      <a:pt x="237" y="383"/>
                    </a:lnTo>
                    <a:lnTo>
                      <a:pt x="238" y="381"/>
                    </a:lnTo>
                    <a:lnTo>
                      <a:pt x="237" y="381"/>
                    </a:lnTo>
                    <a:lnTo>
                      <a:pt x="237" y="380"/>
                    </a:lnTo>
                    <a:lnTo>
                      <a:pt x="235" y="375"/>
                    </a:lnTo>
                    <a:lnTo>
                      <a:pt x="233" y="371"/>
                    </a:lnTo>
                    <a:lnTo>
                      <a:pt x="233" y="370"/>
                    </a:lnTo>
                    <a:lnTo>
                      <a:pt x="232" y="368"/>
                    </a:lnTo>
                    <a:lnTo>
                      <a:pt x="233" y="367"/>
                    </a:lnTo>
                    <a:lnTo>
                      <a:pt x="230" y="365"/>
                    </a:lnTo>
                    <a:lnTo>
                      <a:pt x="232" y="365"/>
                    </a:lnTo>
                    <a:lnTo>
                      <a:pt x="233" y="367"/>
                    </a:lnTo>
                    <a:lnTo>
                      <a:pt x="233" y="370"/>
                    </a:lnTo>
                    <a:lnTo>
                      <a:pt x="235" y="371"/>
                    </a:lnTo>
                    <a:lnTo>
                      <a:pt x="233" y="371"/>
                    </a:lnTo>
                    <a:lnTo>
                      <a:pt x="235" y="373"/>
                    </a:lnTo>
                    <a:lnTo>
                      <a:pt x="235" y="376"/>
                    </a:lnTo>
                    <a:lnTo>
                      <a:pt x="237" y="380"/>
                    </a:lnTo>
                    <a:lnTo>
                      <a:pt x="240" y="381"/>
                    </a:lnTo>
                    <a:lnTo>
                      <a:pt x="243" y="381"/>
                    </a:lnTo>
                    <a:lnTo>
                      <a:pt x="248" y="381"/>
                    </a:lnTo>
                    <a:lnTo>
                      <a:pt x="250" y="381"/>
                    </a:lnTo>
                    <a:lnTo>
                      <a:pt x="253" y="383"/>
                    </a:lnTo>
                    <a:lnTo>
                      <a:pt x="250" y="383"/>
                    </a:lnTo>
                    <a:lnTo>
                      <a:pt x="253" y="383"/>
                    </a:lnTo>
                    <a:lnTo>
                      <a:pt x="256" y="383"/>
                    </a:lnTo>
                    <a:lnTo>
                      <a:pt x="260" y="385"/>
                    </a:lnTo>
                    <a:lnTo>
                      <a:pt x="263" y="385"/>
                    </a:lnTo>
                    <a:lnTo>
                      <a:pt x="266" y="385"/>
                    </a:lnTo>
                    <a:lnTo>
                      <a:pt x="270" y="385"/>
                    </a:lnTo>
                    <a:lnTo>
                      <a:pt x="273" y="386"/>
                    </a:lnTo>
                    <a:lnTo>
                      <a:pt x="275" y="386"/>
                    </a:lnTo>
                    <a:lnTo>
                      <a:pt x="278" y="386"/>
                    </a:lnTo>
                    <a:lnTo>
                      <a:pt x="281" y="386"/>
                    </a:lnTo>
                    <a:lnTo>
                      <a:pt x="288" y="388"/>
                    </a:lnTo>
                    <a:lnTo>
                      <a:pt x="293" y="390"/>
                    </a:lnTo>
                    <a:lnTo>
                      <a:pt x="296" y="391"/>
                    </a:lnTo>
                    <a:lnTo>
                      <a:pt x="299" y="391"/>
                    </a:lnTo>
                    <a:lnTo>
                      <a:pt x="299" y="393"/>
                    </a:lnTo>
                    <a:lnTo>
                      <a:pt x="299" y="395"/>
                    </a:lnTo>
                    <a:lnTo>
                      <a:pt x="299" y="393"/>
                    </a:lnTo>
                    <a:lnTo>
                      <a:pt x="304" y="393"/>
                    </a:lnTo>
                    <a:lnTo>
                      <a:pt x="302" y="395"/>
                    </a:lnTo>
                    <a:lnTo>
                      <a:pt x="299" y="395"/>
                    </a:lnTo>
                    <a:lnTo>
                      <a:pt x="302" y="395"/>
                    </a:lnTo>
                    <a:lnTo>
                      <a:pt x="304" y="395"/>
                    </a:lnTo>
                    <a:lnTo>
                      <a:pt x="304" y="393"/>
                    </a:lnTo>
                    <a:lnTo>
                      <a:pt x="312" y="396"/>
                    </a:lnTo>
                    <a:lnTo>
                      <a:pt x="319" y="398"/>
                    </a:lnTo>
                    <a:lnTo>
                      <a:pt x="322" y="399"/>
                    </a:lnTo>
                    <a:lnTo>
                      <a:pt x="332" y="404"/>
                    </a:lnTo>
                    <a:lnTo>
                      <a:pt x="337" y="406"/>
                    </a:lnTo>
                    <a:lnTo>
                      <a:pt x="347" y="409"/>
                    </a:lnTo>
                    <a:lnTo>
                      <a:pt x="350" y="409"/>
                    </a:lnTo>
                    <a:lnTo>
                      <a:pt x="355" y="411"/>
                    </a:lnTo>
                    <a:lnTo>
                      <a:pt x="357" y="413"/>
                    </a:lnTo>
                    <a:lnTo>
                      <a:pt x="355" y="409"/>
                    </a:lnTo>
                    <a:lnTo>
                      <a:pt x="357" y="409"/>
                    </a:lnTo>
                    <a:lnTo>
                      <a:pt x="355" y="403"/>
                    </a:lnTo>
                    <a:lnTo>
                      <a:pt x="353" y="401"/>
                    </a:lnTo>
                    <a:lnTo>
                      <a:pt x="353" y="398"/>
                    </a:lnTo>
                    <a:lnTo>
                      <a:pt x="352" y="395"/>
                    </a:lnTo>
                    <a:lnTo>
                      <a:pt x="348" y="395"/>
                    </a:lnTo>
                    <a:lnTo>
                      <a:pt x="345" y="391"/>
                    </a:lnTo>
                    <a:lnTo>
                      <a:pt x="345" y="381"/>
                    </a:lnTo>
                    <a:lnTo>
                      <a:pt x="345" y="380"/>
                    </a:lnTo>
                    <a:lnTo>
                      <a:pt x="345" y="381"/>
                    </a:lnTo>
                    <a:lnTo>
                      <a:pt x="347" y="386"/>
                    </a:lnTo>
                    <a:lnTo>
                      <a:pt x="345" y="391"/>
                    </a:lnTo>
                    <a:lnTo>
                      <a:pt x="348" y="393"/>
                    </a:lnTo>
                    <a:lnTo>
                      <a:pt x="352" y="395"/>
                    </a:lnTo>
                    <a:lnTo>
                      <a:pt x="353" y="398"/>
                    </a:lnTo>
                    <a:lnTo>
                      <a:pt x="355" y="403"/>
                    </a:lnTo>
                    <a:lnTo>
                      <a:pt x="357" y="409"/>
                    </a:lnTo>
                    <a:lnTo>
                      <a:pt x="360" y="409"/>
                    </a:lnTo>
                    <a:lnTo>
                      <a:pt x="368" y="414"/>
                    </a:lnTo>
                    <a:lnTo>
                      <a:pt x="373" y="418"/>
                    </a:lnTo>
                    <a:lnTo>
                      <a:pt x="380" y="422"/>
                    </a:lnTo>
                    <a:lnTo>
                      <a:pt x="385" y="424"/>
                    </a:lnTo>
                    <a:lnTo>
                      <a:pt x="388" y="421"/>
                    </a:lnTo>
                    <a:lnTo>
                      <a:pt x="388" y="416"/>
                    </a:lnTo>
                    <a:lnTo>
                      <a:pt x="390" y="418"/>
                    </a:lnTo>
                    <a:lnTo>
                      <a:pt x="388" y="421"/>
                    </a:lnTo>
                    <a:lnTo>
                      <a:pt x="388" y="422"/>
                    </a:lnTo>
                    <a:lnTo>
                      <a:pt x="403" y="427"/>
                    </a:lnTo>
                    <a:lnTo>
                      <a:pt x="409" y="434"/>
                    </a:lnTo>
                    <a:lnTo>
                      <a:pt x="422" y="436"/>
                    </a:lnTo>
                    <a:lnTo>
                      <a:pt x="427" y="434"/>
                    </a:lnTo>
                    <a:lnTo>
                      <a:pt x="431" y="427"/>
                    </a:lnTo>
                    <a:lnTo>
                      <a:pt x="437" y="421"/>
                    </a:lnTo>
                    <a:lnTo>
                      <a:pt x="439" y="418"/>
                    </a:lnTo>
                    <a:lnTo>
                      <a:pt x="440" y="416"/>
                    </a:lnTo>
                    <a:lnTo>
                      <a:pt x="444" y="411"/>
                    </a:lnTo>
                    <a:lnTo>
                      <a:pt x="447" y="409"/>
                    </a:lnTo>
                    <a:lnTo>
                      <a:pt x="452" y="406"/>
                    </a:lnTo>
                    <a:lnTo>
                      <a:pt x="455" y="399"/>
                    </a:lnTo>
                    <a:lnTo>
                      <a:pt x="457" y="396"/>
                    </a:lnTo>
                    <a:lnTo>
                      <a:pt x="462" y="391"/>
                    </a:lnTo>
                    <a:lnTo>
                      <a:pt x="468" y="388"/>
                    </a:lnTo>
                    <a:lnTo>
                      <a:pt x="486" y="381"/>
                    </a:lnTo>
                    <a:lnTo>
                      <a:pt x="491" y="380"/>
                    </a:lnTo>
                    <a:lnTo>
                      <a:pt x="496" y="380"/>
                    </a:lnTo>
                    <a:lnTo>
                      <a:pt x="500" y="380"/>
                    </a:lnTo>
                    <a:lnTo>
                      <a:pt x="503" y="378"/>
                    </a:lnTo>
                    <a:lnTo>
                      <a:pt x="508" y="376"/>
                    </a:lnTo>
                    <a:lnTo>
                      <a:pt x="513" y="375"/>
                    </a:lnTo>
                    <a:lnTo>
                      <a:pt x="523" y="371"/>
                    </a:lnTo>
                    <a:lnTo>
                      <a:pt x="528" y="371"/>
                    </a:lnTo>
                    <a:lnTo>
                      <a:pt x="532" y="370"/>
                    </a:lnTo>
                    <a:lnTo>
                      <a:pt x="537" y="370"/>
                    </a:lnTo>
                    <a:lnTo>
                      <a:pt x="541" y="370"/>
                    </a:lnTo>
                    <a:lnTo>
                      <a:pt x="542" y="370"/>
                    </a:lnTo>
                    <a:lnTo>
                      <a:pt x="544" y="368"/>
                    </a:lnTo>
                    <a:lnTo>
                      <a:pt x="551" y="367"/>
                    </a:lnTo>
                    <a:lnTo>
                      <a:pt x="557" y="365"/>
                    </a:lnTo>
                    <a:lnTo>
                      <a:pt x="567" y="360"/>
                    </a:lnTo>
                    <a:lnTo>
                      <a:pt x="572" y="358"/>
                    </a:lnTo>
                    <a:lnTo>
                      <a:pt x="575" y="352"/>
                    </a:lnTo>
                    <a:lnTo>
                      <a:pt x="585" y="342"/>
                    </a:lnTo>
                    <a:lnTo>
                      <a:pt x="600" y="330"/>
                    </a:lnTo>
                    <a:lnTo>
                      <a:pt x="608" y="329"/>
                    </a:lnTo>
                    <a:lnTo>
                      <a:pt x="605" y="322"/>
                    </a:lnTo>
                    <a:lnTo>
                      <a:pt x="598" y="319"/>
                    </a:lnTo>
                    <a:lnTo>
                      <a:pt x="597" y="316"/>
                    </a:lnTo>
                    <a:lnTo>
                      <a:pt x="593" y="317"/>
                    </a:lnTo>
                    <a:lnTo>
                      <a:pt x="592" y="316"/>
                    </a:lnTo>
                    <a:lnTo>
                      <a:pt x="593" y="317"/>
                    </a:lnTo>
                    <a:lnTo>
                      <a:pt x="597" y="316"/>
                    </a:lnTo>
                    <a:lnTo>
                      <a:pt x="598" y="317"/>
                    </a:lnTo>
                    <a:lnTo>
                      <a:pt x="605" y="321"/>
                    </a:lnTo>
                    <a:lnTo>
                      <a:pt x="608" y="325"/>
                    </a:lnTo>
                    <a:lnTo>
                      <a:pt x="616" y="325"/>
                    </a:lnTo>
                    <a:lnTo>
                      <a:pt x="636" y="330"/>
                    </a:lnTo>
                    <a:lnTo>
                      <a:pt x="664" y="337"/>
                    </a:lnTo>
                    <a:lnTo>
                      <a:pt x="677" y="337"/>
                    </a:lnTo>
                    <a:lnTo>
                      <a:pt x="680" y="335"/>
                    </a:lnTo>
                    <a:lnTo>
                      <a:pt x="675" y="309"/>
                    </a:lnTo>
                    <a:lnTo>
                      <a:pt x="675" y="306"/>
                    </a:lnTo>
                    <a:lnTo>
                      <a:pt x="677" y="296"/>
                    </a:lnTo>
                    <a:lnTo>
                      <a:pt x="679" y="286"/>
                    </a:lnTo>
                    <a:lnTo>
                      <a:pt x="682" y="281"/>
                    </a:lnTo>
                    <a:lnTo>
                      <a:pt x="692" y="268"/>
                    </a:lnTo>
                    <a:lnTo>
                      <a:pt x="700" y="261"/>
                    </a:lnTo>
                    <a:lnTo>
                      <a:pt x="708" y="255"/>
                    </a:lnTo>
                    <a:lnTo>
                      <a:pt x="713" y="253"/>
                    </a:lnTo>
                    <a:lnTo>
                      <a:pt x="716" y="251"/>
                    </a:lnTo>
                    <a:lnTo>
                      <a:pt x="720" y="250"/>
                    </a:lnTo>
                    <a:lnTo>
                      <a:pt x="725" y="250"/>
                    </a:lnTo>
                    <a:lnTo>
                      <a:pt x="731" y="248"/>
                    </a:lnTo>
                    <a:lnTo>
                      <a:pt x="738" y="247"/>
                    </a:lnTo>
                    <a:lnTo>
                      <a:pt x="744" y="247"/>
                    </a:lnTo>
                    <a:lnTo>
                      <a:pt x="746" y="247"/>
                    </a:lnTo>
                    <a:lnTo>
                      <a:pt x="748" y="247"/>
                    </a:lnTo>
                    <a:lnTo>
                      <a:pt x="753" y="245"/>
                    </a:lnTo>
                    <a:lnTo>
                      <a:pt x="756" y="245"/>
                    </a:lnTo>
                    <a:lnTo>
                      <a:pt x="753" y="243"/>
                    </a:lnTo>
                    <a:lnTo>
                      <a:pt x="754" y="243"/>
                    </a:lnTo>
                    <a:lnTo>
                      <a:pt x="756" y="242"/>
                    </a:lnTo>
                    <a:lnTo>
                      <a:pt x="758" y="240"/>
                    </a:lnTo>
                    <a:lnTo>
                      <a:pt x="759" y="237"/>
                    </a:lnTo>
                    <a:lnTo>
                      <a:pt x="766" y="233"/>
                    </a:lnTo>
                    <a:lnTo>
                      <a:pt x="779" y="230"/>
                    </a:lnTo>
                    <a:lnTo>
                      <a:pt x="781" y="232"/>
                    </a:lnTo>
                    <a:lnTo>
                      <a:pt x="794" y="225"/>
                    </a:lnTo>
                    <a:lnTo>
                      <a:pt x="797" y="224"/>
                    </a:lnTo>
                    <a:lnTo>
                      <a:pt x="802" y="225"/>
                    </a:lnTo>
                    <a:lnTo>
                      <a:pt x="797" y="222"/>
                    </a:lnTo>
                    <a:lnTo>
                      <a:pt x="800" y="224"/>
                    </a:lnTo>
                    <a:lnTo>
                      <a:pt x="797" y="222"/>
                    </a:lnTo>
                    <a:lnTo>
                      <a:pt x="799" y="220"/>
                    </a:lnTo>
                    <a:lnTo>
                      <a:pt x="800" y="219"/>
                    </a:lnTo>
                    <a:lnTo>
                      <a:pt x="805" y="217"/>
                    </a:lnTo>
                    <a:lnTo>
                      <a:pt x="805" y="219"/>
                    </a:lnTo>
                    <a:lnTo>
                      <a:pt x="805" y="215"/>
                    </a:lnTo>
                    <a:lnTo>
                      <a:pt x="807" y="215"/>
                    </a:lnTo>
                    <a:lnTo>
                      <a:pt x="807" y="217"/>
                    </a:lnTo>
                    <a:lnTo>
                      <a:pt x="808" y="220"/>
                    </a:lnTo>
                    <a:lnTo>
                      <a:pt x="808" y="214"/>
                    </a:lnTo>
                    <a:lnTo>
                      <a:pt x="815" y="212"/>
                    </a:lnTo>
                    <a:lnTo>
                      <a:pt x="822" y="207"/>
                    </a:lnTo>
                    <a:lnTo>
                      <a:pt x="828" y="196"/>
                    </a:lnTo>
                    <a:lnTo>
                      <a:pt x="830" y="182"/>
                    </a:lnTo>
                    <a:lnTo>
                      <a:pt x="830" y="171"/>
                    </a:lnTo>
                    <a:lnTo>
                      <a:pt x="830" y="166"/>
                    </a:lnTo>
                    <a:lnTo>
                      <a:pt x="830" y="163"/>
                    </a:lnTo>
                    <a:lnTo>
                      <a:pt x="830" y="158"/>
                    </a:lnTo>
                    <a:lnTo>
                      <a:pt x="828" y="154"/>
                    </a:lnTo>
                    <a:lnTo>
                      <a:pt x="825" y="145"/>
                    </a:lnTo>
                    <a:lnTo>
                      <a:pt x="817" y="112"/>
                    </a:lnTo>
                    <a:lnTo>
                      <a:pt x="812" y="115"/>
                    </a:lnTo>
                    <a:lnTo>
                      <a:pt x="810" y="118"/>
                    </a:lnTo>
                    <a:lnTo>
                      <a:pt x="812" y="122"/>
                    </a:lnTo>
                    <a:lnTo>
                      <a:pt x="810" y="122"/>
                    </a:lnTo>
                    <a:lnTo>
                      <a:pt x="808" y="123"/>
                    </a:lnTo>
                    <a:lnTo>
                      <a:pt x="810" y="122"/>
                    </a:lnTo>
                    <a:lnTo>
                      <a:pt x="812" y="122"/>
                    </a:lnTo>
                    <a:lnTo>
                      <a:pt x="808" y="118"/>
                    </a:lnTo>
                    <a:lnTo>
                      <a:pt x="808" y="122"/>
                    </a:lnTo>
                    <a:lnTo>
                      <a:pt x="808" y="120"/>
                    </a:lnTo>
                    <a:lnTo>
                      <a:pt x="808" y="115"/>
                    </a:lnTo>
                    <a:lnTo>
                      <a:pt x="810" y="118"/>
                    </a:lnTo>
                    <a:lnTo>
                      <a:pt x="813" y="113"/>
                    </a:lnTo>
                    <a:lnTo>
                      <a:pt x="813" y="112"/>
                    </a:lnTo>
                    <a:lnTo>
                      <a:pt x="815" y="112"/>
                    </a:lnTo>
                    <a:lnTo>
                      <a:pt x="813" y="110"/>
                    </a:lnTo>
                    <a:lnTo>
                      <a:pt x="815" y="112"/>
                    </a:lnTo>
                    <a:lnTo>
                      <a:pt x="815" y="108"/>
                    </a:lnTo>
                    <a:lnTo>
                      <a:pt x="815" y="105"/>
                    </a:lnTo>
                    <a:lnTo>
                      <a:pt x="818" y="105"/>
                    </a:lnTo>
                    <a:lnTo>
                      <a:pt x="820" y="103"/>
                    </a:lnTo>
                    <a:lnTo>
                      <a:pt x="825" y="105"/>
                    </a:lnTo>
                    <a:lnTo>
                      <a:pt x="831" y="105"/>
                    </a:lnTo>
                    <a:lnTo>
                      <a:pt x="831" y="107"/>
                    </a:lnTo>
                    <a:lnTo>
                      <a:pt x="833" y="107"/>
                    </a:lnTo>
                    <a:lnTo>
                      <a:pt x="833" y="105"/>
                    </a:lnTo>
                    <a:lnTo>
                      <a:pt x="835" y="103"/>
                    </a:lnTo>
                    <a:lnTo>
                      <a:pt x="836" y="102"/>
                    </a:lnTo>
                    <a:lnTo>
                      <a:pt x="836" y="105"/>
                    </a:lnTo>
                    <a:lnTo>
                      <a:pt x="836" y="103"/>
                    </a:lnTo>
                    <a:lnTo>
                      <a:pt x="838" y="100"/>
                    </a:lnTo>
                    <a:lnTo>
                      <a:pt x="840" y="97"/>
                    </a:lnTo>
                    <a:lnTo>
                      <a:pt x="841" y="95"/>
                    </a:lnTo>
                    <a:lnTo>
                      <a:pt x="843" y="90"/>
                    </a:lnTo>
                    <a:lnTo>
                      <a:pt x="843" y="87"/>
                    </a:lnTo>
                    <a:lnTo>
                      <a:pt x="845" y="85"/>
                    </a:lnTo>
                    <a:lnTo>
                      <a:pt x="845" y="82"/>
                    </a:lnTo>
                    <a:lnTo>
                      <a:pt x="845" y="76"/>
                    </a:lnTo>
                    <a:lnTo>
                      <a:pt x="843" y="71"/>
                    </a:lnTo>
                    <a:lnTo>
                      <a:pt x="840" y="69"/>
                    </a:lnTo>
                    <a:lnTo>
                      <a:pt x="836" y="67"/>
                    </a:lnTo>
                    <a:lnTo>
                      <a:pt x="828" y="67"/>
                    </a:lnTo>
                    <a:lnTo>
                      <a:pt x="823" y="67"/>
                    </a:lnTo>
                    <a:lnTo>
                      <a:pt x="818" y="71"/>
                    </a:lnTo>
                    <a:lnTo>
                      <a:pt x="812" y="71"/>
                    </a:lnTo>
                    <a:lnTo>
                      <a:pt x="808" y="72"/>
                    </a:lnTo>
                    <a:lnTo>
                      <a:pt x="807" y="72"/>
                    </a:lnTo>
                    <a:lnTo>
                      <a:pt x="805" y="71"/>
                    </a:lnTo>
                    <a:lnTo>
                      <a:pt x="804" y="74"/>
                    </a:lnTo>
                    <a:lnTo>
                      <a:pt x="800" y="74"/>
                    </a:lnTo>
                    <a:lnTo>
                      <a:pt x="789" y="74"/>
                    </a:lnTo>
                    <a:lnTo>
                      <a:pt x="785" y="76"/>
                    </a:lnTo>
                    <a:lnTo>
                      <a:pt x="779" y="76"/>
                    </a:lnTo>
                    <a:lnTo>
                      <a:pt x="766" y="76"/>
                    </a:lnTo>
                    <a:lnTo>
                      <a:pt x="758" y="76"/>
                    </a:lnTo>
                    <a:lnTo>
                      <a:pt x="743" y="79"/>
                    </a:lnTo>
                    <a:lnTo>
                      <a:pt x="741" y="79"/>
                    </a:lnTo>
                    <a:lnTo>
                      <a:pt x="739" y="79"/>
                    </a:lnTo>
                    <a:lnTo>
                      <a:pt x="735" y="79"/>
                    </a:lnTo>
                    <a:lnTo>
                      <a:pt x="733" y="79"/>
                    </a:lnTo>
                    <a:lnTo>
                      <a:pt x="726" y="79"/>
                    </a:lnTo>
                    <a:lnTo>
                      <a:pt x="721" y="79"/>
                    </a:lnTo>
                    <a:lnTo>
                      <a:pt x="721" y="80"/>
                    </a:lnTo>
                    <a:lnTo>
                      <a:pt x="716" y="82"/>
                    </a:lnTo>
                    <a:lnTo>
                      <a:pt x="712" y="80"/>
                    </a:lnTo>
                    <a:lnTo>
                      <a:pt x="707" y="84"/>
                    </a:lnTo>
                    <a:lnTo>
                      <a:pt x="698" y="84"/>
                    </a:lnTo>
                    <a:lnTo>
                      <a:pt x="697" y="84"/>
                    </a:lnTo>
                    <a:lnTo>
                      <a:pt x="695" y="85"/>
                    </a:lnTo>
                    <a:lnTo>
                      <a:pt x="692" y="90"/>
                    </a:lnTo>
                    <a:lnTo>
                      <a:pt x="687" y="94"/>
                    </a:lnTo>
                    <a:lnTo>
                      <a:pt x="670" y="94"/>
                    </a:lnTo>
                    <a:lnTo>
                      <a:pt x="659" y="94"/>
                    </a:lnTo>
                    <a:lnTo>
                      <a:pt x="651" y="97"/>
                    </a:lnTo>
                    <a:lnTo>
                      <a:pt x="651" y="100"/>
                    </a:lnTo>
                    <a:lnTo>
                      <a:pt x="656" y="100"/>
                    </a:lnTo>
                    <a:lnTo>
                      <a:pt x="657" y="103"/>
                    </a:lnTo>
                    <a:lnTo>
                      <a:pt x="657" y="105"/>
                    </a:lnTo>
                    <a:lnTo>
                      <a:pt x="656" y="105"/>
                    </a:lnTo>
                    <a:lnTo>
                      <a:pt x="654" y="107"/>
                    </a:lnTo>
                    <a:lnTo>
                      <a:pt x="652" y="107"/>
                    </a:lnTo>
                    <a:lnTo>
                      <a:pt x="649" y="110"/>
                    </a:lnTo>
                    <a:lnTo>
                      <a:pt x="647" y="110"/>
                    </a:lnTo>
                    <a:lnTo>
                      <a:pt x="649" y="110"/>
                    </a:lnTo>
                    <a:lnTo>
                      <a:pt x="651" y="108"/>
                    </a:lnTo>
                    <a:lnTo>
                      <a:pt x="656" y="105"/>
                    </a:lnTo>
                    <a:lnTo>
                      <a:pt x="657" y="105"/>
                    </a:lnTo>
                    <a:lnTo>
                      <a:pt x="657" y="103"/>
                    </a:lnTo>
                    <a:lnTo>
                      <a:pt x="656" y="100"/>
                    </a:lnTo>
                    <a:lnTo>
                      <a:pt x="652" y="100"/>
                    </a:lnTo>
                    <a:lnTo>
                      <a:pt x="651" y="99"/>
                    </a:lnTo>
                    <a:lnTo>
                      <a:pt x="649" y="100"/>
                    </a:lnTo>
                    <a:lnTo>
                      <a:pt x="646" y="103"/>
                    </a:lnTo>
                    <a:lnTo>
                      <a:pt x="649" y="100"/>
                    </a:lnTo>
                    <a:lnTo>
                      <a:pt x="651" y="95"/>
                    </a:lnTo>
                    <a:lnTo>
                      <a:pt x="643" y="89"/>
                    </a:lnTo>
                    <a:lnTo>
                      <a:pt x="639" y="89"/>
                    </a:lnTo>
                    <a:lnTo>
                      <a:pt x="631" y="90"/>
                    </a:lnTo>
                    <a:lnTo>
                      <a:pt x="623" y="89"/>
                    </a:lnTo>
                    <a:lnTo>
                      <a:pt x="621" y="90"/>
                    </a:lnTo>
                    <a:lnTo>
                      <a:pt x="621" y="92"/>
                    </a:lnTo>
                    <a:lnTo>
                      <a:pt x="623" y="92"/>
                    </a:lnTo>
                    <a:lnTo>
                      <a:pt x="623" y="94"/>
                    </a:lnTo>
                    <a:lnTo>
                      <a:pt x="621" y="94"/>
                    </a:lnTo>
                    <a:lnTo>
                      <a:pt x="623" y="92"/>
                    </a:lnTo>
                    <a:lnTo>
                      <a:pt x="621" y="92"/>
                    </a:lnTo>
                    <a:lnTo>
                      <a:pt x="621" y="90"/>
                    </a:lnTo>
                    <a:lnTo>
                      <a:pt x="623" y="87"/>
                    </a:lnTo>
                    <a:lnTo>
                      <a:pt x="610" y="85"/>
                    </a:lnTo>
                    <a:lnTo>
                      <a:pt x="603" y="85"/>
                    </a:lnTo>
                    <a:lnTo>
                      <a:pt x="601" y="92"/>
                    </a:lnTo>
                    <a:lnTo>
                      <a:pt x="600" y="92"/>
                    </a:lnTo>
                    <a:lnTo>
                      <a:pt x="598" y="92"/>
                    </a:lnTo>
                    <a:lnTo>
                      <a:pt x="597" y="95"/>
                    </a:lnTo>
                    <a:lnTo>
                      <a:pt x="597" y="94"/>
                    </a:lnTo>
                    <a:lnTo>
                      <a:pt x="595" y="94"/>
                    </a:lnTo>
                    <a:lnTo>
                      <a:pt x="597" y="94"/>
                    </a:lnTo>
                    <a:lnTo>
                      <a:pt x="598" y="92"/>
                    </a:lnTo>
                    <a:lnTo>
                      <a:pt x="600" y="92"/>
                    </a:lnTo>
                    <a:lnTo>
                      <a:pt x="601" y="90"/>
                    </a:lnTo>
                    <a:lnTo>
                      <a:pt x="601" y="85"/>
                    </a:lnTo>
                    <a:lnTo>
                      <a:pt x="605" y="84"/>
                    </a:lnTo>
                    <a:lnTo>
                      <a:pt x="603" y="80"/>
                    </a:lnTo>
                    <a:lnTo>
                      <a:pt x="605" y="72"/>
                    </a:lnTo>
                    <a:lnTo>
                      <a:pt x="603" y="72"/>
                    </a:lnTo>
                    <a:lnTo>
                      <a:pt x="600" y="69"/>
                    </a:lnTo>
                    <a:lnTo>
                      <a:pt x="598" y="67"/>
                    </a:lnTo>
                    <a:lnTo>
                      <a:pt x="597" y="67"/>
                    </a:lnTo>
                    <a:lnTo>
                      <a:pt x="597" y="66"/>
                    </a:lnTo>
                    <a:lnTo>
                      <a:pt x="595" y="66"/>
                    </a:lnTo>
                    <a:lnTo>
                      <a:pt x="595" y="67"/>
                    </a:lnTo>
                    <a:lnTo>
                      <a:pt x="592" y="64"/>
                    </a:lnTo>
                    <a:lnTo>
                      <a:pt x="590" y="61"/>
                    </a:lnTo>
                    <a:lnTo>
                      <a:pt x="590" y="59"/>
                    </a:lnTo>
                    <a:lnTo>
                      <a:pt x="588" y="59"/>
                    </a:lnTo>
                    <a:lnTo>
                      <a:pt x="588" y="57"/>
                    </a:lnTo>
                    <a:lnTo>
                      <a:pt x="588" y="56"/>
                    </a:lnTo>
                    <a:lnTo>
                      <a:pt x="590" y="54"/>
                    </a:lnTo>
                    <a:lnTo>
                      <a:pt x="593" y="56"/>
                    </a:lnTo>
                    <a:lnTo>
                      <a:pt x="592" y="53"/>
                    </a:lnTo>
                    <a:lnTo>
                      <a:pt x="587" y="53"/>
                    </a:lnTo>
                    <a:lnTo>
                      <a:pt x="593" y="53"/>
                    </a:lnTo>
                    <a:lnTo>
                      <a:pt x="592" y="51"/>
                    </a:lnTo>
                    <a:lnTo>
                      <a:pt x="585" y="53"/>
                    </a:lnTo>
                    <a:lnTo>
                      <a:pt x="582" y="51"/>
                    </a:lnTo>
                    <a:lnTo>
                      <a:pt x="582" y="56"/>
                    </a:lnTo>
                    <a:lnTo>
                      <a:pt x="582" y="59"/>
                    </a:lnTo>
                    <a:lnTo>
                      <a:pt x="583" y="59"/>
                    </a:lnTo>
                    <a:lnTo>
                      <a:pt x="582" y="59"/>
                    </a:lnTo>
                    <a:lnTo>
                      <a:pt x="582" y="57"/>
                    </a:lnTo>
                    <a:lnTo>
                      <a:pt x="580" y="59"/>
                    </a:lnTo>
                    <a:lnTo>
                      <a:pt x="582" y="64"/>
                    </a:lnTo>
                    <a:lnTo>
                      <a:pt x="583" y="64"/>
                    </a:lnTo>
                    <a:lnTo>
                      <a:pt x="583" y="66"/>
                    </a:lnTo>
                    <a:lnTo>
                      <a:pt x="585" y="64"/>
                    </a:lnTo>
                    <a:lnTo>
                      <a:pt x="583" y="67"/>
                    </a:lnTo>
                    <a:lnTo>
                      <a:pt x="588" y="71"/>
                    </a:lnTo>
                    <a:lnTo>
                      <a:pt x="587" y="72"/>
                    </a:lnTo>
                    <a:lnTo>
                      <a:pt x="582" y="74"/>
                    </a:lnTo>
                    <a:lnTo>
                      <a:pt x="580" y="74"/>
                    </a:lnTo>
                    <a:lnTo>
                      <a:pt x="580" y="72"/>
                    </a:lnTo>
                    <a:lnTo>
                      <a:pt x="583" y="67"/>
                    </a:lnTo>
                    <a:lnTo>
                      <a:pt x="582" y="67"/>
                    </a:lnTo>
                    <a:lnTo>
                      <a:pt x="577" y="69"/>
                    </a:lnTo>
                    <a:lnTo>
                      <a:pt x="575" y="74"/>
                    </a:lnTo>
                    <a:lnTo>
                      <a:pt x="572" y="79"/>
                    </a:lnTo>
                    <a:lnTo>
                      <a:pt x="572" y="76"/>
                    </a:lnTo>
                    <a:lnTo>
                      <a:pt x="570" y="76"/>
                    </a:lnTo>
                    <a:lnTo>
                      <a:pt x="570" y="74"/>
                    </a:lnTo>
                    <a:lnTo>
                      <a:pt x="569" y="74"/>
                    </a:lnTo>
                    <a:lnTo>
                      <a:pt x="569" y="72"/>
                    </a:lnTo>
                    <a:lnTo>
                      <a:pt x="569" y="67"/>
                    </a:lnTo>
                    <a:lnTo>
                      <a:pt x="564" y="66"/>
                    </a:lnTo>
                    <a:lnTo>
                      <a:pt x="560" y="66"/>
                    </a:lnTo>
                    <a:lnTo>
                      <a:pt x="562" y="71"/>
                    </a:lnTo>
                    <a:lnTo>
                      <a:pt x="557" y="77"/>
                    </a:lnTo>
                    <a:lnTo>
                      <a:pt x="555" y="76"/>
                    </a:lnTo>
                    <a:lnTo>
                      <a:pt x="559" y="72"/>
                    </a:lnTo>
                    <a:lnTo>
                      <a:pt x="559" y="69"/>
                    </a:lnTo>
                    <a:lnTo>
                      <a:pt x="554" y="71"/>
                    </a:lnTo>
                    <a:lnTo>
                      <a:pt x="555" y="74"/>
                    </a:lnTo>
                    <a:lnTo>
                      <a:pt x="552" y="76"/>
                    </a:lnTo>
                    <a:lnTo>
                      <a:pt x="547" y="72"/>
                    </a:lnTo>
                    <a:lnTo>
                      <a:pt x="546" y="71"/>
                    </a:lnTo>
                    <a:lnTo>
                      <a:pt x="547" y="69"/>
                    </a:lnTo>
                    <a:lnTo>
                      <a:pt x="546" y="69"/>
                    </a:lnTo>
                    <a:lnTo>
                      <a:pt x="546" y="71"/>
                    </a:lnTo>
                    <a:lnTo>
                      <a:pt x="544" y="69"/>
                    </a:lnTo>
                    <a:lnTo>
                      <a:pt x="541" y="69"/>
                    </a:lnTo>
                    <a:lnTo>
                      <a:pt x="532" y="66"/>
                    </a:lnTo>
                    <a:lnTo>
                      <a:pt x="532" y="64"/>
                    </a:lnTo>
                    <a:lnTo>
                      <a:pt x="532" y="66"/>
                    </a:lnTo>
                    <a:lnTo>
                      <a:pt x="531" y="64"/>
                    </a:lnTo>
                    <a:lnTo>
                      <a:pt x="529" y="61"/>
                    </a:lnTo>
                    <a:lnTo>
                      <a:pt x="526" y="57"/>
                    </a:lnTo>
                    <a:lnTo>
                      <a:pt x="523" y="61"/>
                    </a:lnTo>
                    <a:lnTo>
                      <a:pt x="521" y="69"/>
                    </a:lnTo>
                    <a:lnTo>
                      <a:pt x="519" y="72"/>
                    </a:lnTo>
                    <a:lnTo>
                      <a:pt x="518" y="72"/>
                    </a:lnTo>
                    <a:lnTo>
                      <a:pt x="516" y="72"/>
                    </a:lnTo>
                    <a:lnTo>
                      <a:pt x="514" y="67"/>
                    </a:lnTo>
                    <a:lnTo>
                      <a:pt x="513" y="69"/>
                    </a:lnTo>
                    <a:lnTo>
                      <a:pt x="509" y="74"/>
                    </a:lnTo>
                    <a:lnTo>
                      <a:pt x="506" y="77"/>
                    </a:lnTo>
                    <a:lnTo>
                      <a:pt x="496" y="82"/>
                    </a:lnTo>
                    <a:lnTo>
                      <a:pt x="495" y="84"/>
                    </a:lnTo>
                    <a:lnTo>
                      <a:pt x="496" y="90"/>
                    </a:lnTo>
                    <a:lnTo>
                      <a:pt x="495" y="92"/>
                    </a:lnTo>
                    <a:lnTo>
                      <a:pt x="498" y="100"/>
                    </a:lnTo>
                    <a:lnTo>
                      <a:pt x="495" y="103"/>
                    </a:lnTo>
                    <a:lnTo>
                      <a:pt x="498" y="102"/>
                    </a:lnTo>
                    <a:lnTo>
                      <a:pt x="496" y="105"/>
                    </a:lnTo>
                    <a:lnTo>
                      <a:pt x="498" y="105"/>
                    </a:lnTo>
                    <a:lnTo>
                      <a:pt x="498" y="107"/>
                    </a:lnTo>
                    <a:lnTo>
                      <a:pt x="496" y="105"/>
                    </a:lnTo>
                    <a:lnTo>
                      <a:pt x="498" y="102"/>
                    </a:lnTo>
                    <a:lnTo>
                      <a:pt x="495" y="103"/>
                    </a:lnTo>
                    <a:lnTo>
                      <a:pt x="495" y="100"/>
                    </a:lnTo>
                    <a:lnTo>
                      <a:pt x="496" y="100"/>
                    </a:lnTo>
                    <a:lnTo>
                      <a:pt x="496" y="97"/>
                    </a:lnTo>
                    <a:lnTo>
                      <a:pt x="493" y="94"/>
                    </a:lnTo>
                    <a:lnTo>
                      <a:pt x="496" y="90"/>
                    </a:lnTo>
                    <a:lnTo>
                      <a:pt x="495" y="89"/>
                    </a:lnTo>
                    <a:lnTo>
                      <a:pt x="493" y="84"/>
                    </a:lnTo>
                    <a:lnTo>
                      <a:pt x="500" y="77"/>
                    </a:lnTo>
                    <a:lnTo>
                      <a:pt x="503" y="76"/>
                    </a:lnTo>
                    <a:lnTo>
                      <a:pt x="506" y="74"/>
                    </a:lnTo>
                    <a:lnTo>
                      <a:pt x="508" y="74"/>
                    </a:lnTo>
                    <a:lnTo>
                      <a:pt x="509" y="69"/>
                    </a:lnTo>
                    <a:lnTo>
                      <a:pt x="511" y="67"/>
                    </a:lnTo>
                    <a:lnTo>
                      <a:pt x="509" y="67"/>
                    </a:lnTo>
                    <a:lnTo>
                      <a:pt x="511" y="67"/>
                    </a:lnTo>
                    <a:lnTo>
                      <a:pt x="514" y="66"/>
                    </a:lnTo>
                    <a:lnTo>
                      <a:pt x="519" y="71"/>
                    </a:lnTo>
                    <a:lnTo>
                      <a:pt x="519" y="64"/>
                    </a:lnTo>
                    <a:lnTo>
                      <a:pt x="518" y="66"/>
                    </a:lnTo>
                    <a:lnTo>
                      <a:pt x="518" y="62"/>
                    </a:lnTo>
                    <a:lnTo>
                      <a:pt x="521" y="62"/>
                    </a:lnTo>
                    <a:lnTo>
                      <a:pt x="521" y="61"/>
                    </a:lnTo>
                    <a:lnTo>
                      <a:pt x="521" y="59"/>
                    </a:lnTo>
                    <a:lnTo>
                      <a:pt x="524" y="56"/>
                    </a:lnTo>
                    <a:lnTo>
                      <a:pt x="529" y="57"/>
                    </a:lnTo>
                    <a:lnTo>
                      <a:pt x="534" y="57"/>
                    </a:lnTo>
                    <a:lnTo>
                      <a:pt x="539" y="54"/>
                    </a:lnTo>
                    <a:lnTo>
                      <a:pt x="551" y="54"/>
                    </a:lnTo>
                    <a:lnTo>
                      <a:pt x="555" y="51"/>
                    </a:lnTo>
                    <a:lnTo>
                      <a:pt x="554" y="48"/>
                    </a:lnTo>
                    <a:lnTo>
                      <a:pt x="552" y="51"/>
                    </a:lnTo>
                    <a:lnTo>
                      <a:pt x="549" y="53"/>
                    </a:lnTo>
                    <a:lnTo>
                      <a:pt x="554" y="46"/>
                    </a:lnTo>
                    <a:lnTo>
                      <a:pt x="554" y="43"/>
                    </a:lnTo>
                    <a:lnTo>
                      <a:pt x="557" y="43"/>
                    </a:lnTo>
                    <a:lnTo>
                      <a:pt x="557" y="39"/>
                    </a:lnTo>
                    <a:lnTo>
                      <a:pt x="559" y="38"/>
                    </a:lnTo>
                    <a:lnTo>
                      <a:pt x="564" y="38"/>
                    </a:lnTo>
                    <a:lnTo>
                      <a:pt x="567" y="36"/>
                    </a:lnTo>
                    <a:lnTo>
                      <a:pt x="569" y="39"/>
                    </a:lnTo>
                    <a:lnTo>
                      <a:pt x="572" y="36"/>
                    </a:lnTo>
                    <a:lnTo>
                      <a:pt x="572" y="39"/>
                    </a:lnTo>
                    <a:lnTo>
                      <a:pt x="574" y="41"/>
                    </a:lnTo>
                    <a:lnTo>
                      <a:pt x="574" y="44"/>
                    </a:lnTo>
                    <a:lnTo>
                      <a:pt x="582" y="44"/>
                    </a:lnTo>
                    <a:lnTo>
                      <a:pt x="588" y="43"/>
                    </a:lnTo>
                    <a:lnTo>
                      <a:pt x="590" y="38"/>
                    </a:lnTo>
                    <a:lnTo>
                      <a:pt x="590" y="29"/>
                    </a:lnTo>
                    <a:lnTo>
                      <a:pt x="583" y="23"/>
                    </a:lnTo>
                    <a:lnTo>
                      <a:pt x="577" y="21"/>
                    </a:lnTo>
                    <a:lnTo>
                      <a:pt x="572" y="23"/>
                    </a:lnTo>
                    <a:lnTo>
                      <a:pt x="574" y="25"/>
                    </a:lnTo>
                    <a:lnTo>
                      <a:pt x="575" y="26"/>
                    </a:lnTo>
                    <a:lnTo>
                      <a:pt x="577" y="28"/>
                    </a:lnTo>
                    <a:lnTo>
                      <a:pt x="578" y="29"/>
                    </a:lnTo>
                    <a:lnTo>
                      <a:pt x="577" y="26"/>
                    </a:lnTo>
                    <a:lnTo>
                      <a:pt x="574" y="26"/>
                    </a:lnTo>
                    <a:lnTo>
                      <a:pt x="572" y="25"/>
                    </a:lnTo>
                    <a:lnTo>
                      <a:pt x="572" y="21"/>
                    </a:lnTo>
                    <a:lnTo>
                      <a:pt x="569" y="20"/>
                    </a:lnTo>
                    <a:lnTo>
                      <a:pt x="562" y="20"/>
                    </a:lnTo>
                    <a:lnTo>
                      <a:pt x="552" y="21"/>
                    </a:lnTo>
                    <a:lnTo>
                      <a:pt x="549" y="18"/>
                    </a:lnTo>
                    <a:lnTo>
                      <a:pt x="542" y="16"/>
                    </a:lnTo>
                    <a:lnTo>
                      <a:pt x="542" y="18"/>
                    </a:lnTo>
                    <a:lnTo>
                      <a:pt x="541" y="18"/>
                    </a:lnTo>
                    <a:lnTo>
                      <a:pt x="537" y="16"/>
                    </a:lnTo>
                    <a:lnTo>
                      <a:pt x="532" y="16"/>
                    </a:lnTo>
                    <a:lnTo>
                      <a:pt x="531" y="18"/>
                    </a:lnTo>
                    <a:lnTo>
                      <a:pt x="531" y="16"/>
                    </a:lnTo>
                    <a:lnTo>
                      <a:pt x="528" y="15"/>
                    </a:lnTo>
                    <a:lnTo>
                      <a:pt x="523" y="16"/>
                    </a:lnTo>
                    <a:lnTo>
                      <a:pt x="506" y="15"/>
                    </a:lnTo>
                    <a:lnTo>
                      <a:pt x="500" y="18"/>
                    </a:lnTo>
                    <a:lnTo>
                      <a:pt x="496" y="26"/>
                    </a:lnTo>
                    <a:lnTo>
                      <a:pt x="501" y="28"/>
                    </a:lnTo>
                    <a:lnTo>
                      <a:pt x="498" y="26"/>
                    </a:lnTo>
                    <a:lnTo>
                      <a:pt x="496" y="28"/>
                    </a:lnTo>
                    <a:lnTo>
                      <a:pt x="498" y="33"/>
                    </a:lnTo>
                    <a:lnTo>
                      <a:pt x="491" y="36"/>
                    </a:lnTo>
                    <a:lnTo>
                      <a:pt x="486" y="38"/>
                    </a:lnTo>
                    <a:lnTo>
                      <a:pt x="478" y="39"/>
                    </a:lnTo>
                    <a:lnTo>
                      <a:pt x="477" y="39"/>
                    </a:lnTo>
                    <a:lnTo>
                      <a:pt x="470" y="39"/>
                    </a:lnTo>
                    <a:lnTo>
                      <a:pt x="467" y="38"/>
                    </a:lnTo>
                    <a:lnTo>
                      <a:pt x="462" y="38"/>
                    </a:lnTo>
                    <a:lnTo>
                      <a:pt x="459" y="38"/>
                    </a:lnTo>
                    <a:lnTo>
                      <a:pt x="452" y="36"/>
                    </a:lnTo>
                    <a:lnTo>
                      <a:pt x="447" y="26"/>
                    </a:lnTo>
                    <a:lnTo>
                      <a:pt x="445" y="26"/>
                    </a:lnTo>
                    <a:lnTo>
                      <a:pt x="445" y="28"/>
                    </a:lnTo>
                    <a:lnTo>
                      <a:pt x="444" y="26"/>
                    </a:lnTo>
                    <a:lnTo>
                      <a:pt x="440" y="33"/>
                    </a:lnTo>
                    <a:lnTo>
                      <a:pt x="439" y="33"/>
                    </a:lnTo>
                    <a:lnTo>
                      <a:pt x="434" y="33"/>
                    </a:lnTo>
                    <a:lnTo>
                      <a:pt x="426" y="28"/>
                    </a:lnTo>
                    <a:lnTo>
                      <a:pt x="421" y="25"/>
                    </a:lnTo>
                    <a:lnTo>
                      <a:pt x="413" y="18"/>
                    </a:lnTo>
                    <a:lnTo>
                      <a:pt x="409" y="23"/>
                    </a:lnTo>
                    <a:lnTo>
                      <a:pt x="413" y="18"/>
                    </a:lnTo>
                    <a:lnTo>
                      <a:pt x="411" y="16"/>
                    </a:lnTo>
                    <a:lnTo>
                      <a:pt x="408" y="20"/>
                    </a:lnTo>
                    <a:lnTo>
                      <a:pt x="404" y="20"/>
                    </a:lnTo>
                    <a:lnTo>
                      <a:pt x="403" y="18"/>
                    </a:lnTo>
                    <a:lnTo>
                      <a:pt x="399" y="16"/>
                    </a:lnTo>
                    <a:lnTo>
                      <a:pt x="398" y="15"/>
                    </a:lnTo>
                    <a:lnTo>
                      <a:pt x="396" y="10"/>
                    </a:lnTo>
                    <a:lnTo>
                      <a:pt x="394" y="5"/>
                    </a:lnTo>
                    <a:lnTo>
                      <a:pt x="390" y="3"/>
                    </a:lnTo>
                    <a:lnTo>
                      <a:pt x="386" y="3"/>
                    </a:lnTo>
                    <a:lnTo>
                      <a:pt x="385" y="2"/>
                    </a:lnTo>
                    <a:lnTo>
                      <a:pt x="383" y="2"/>
                    </a:lnTo>
                    <a:lnTo>
                      <a:pt x="381" y="0"/>
                    </a:lnTo>
                    <a:lnTo>
                      <a:pt x="380" y="0"/>
                    </a:lnTo>
                    <a:lnTo>
                      <a:pt x="378" y="0"/>
                    </a:lnTo>
                    <a:lnTo>
                      <a:pt x="375" y="2"/>
                    </a:lnTo>
                    <a:lnTo>
                      <a:pt x="368" y="3"/>
                    </a:lnTo>
                    <a:lnTo>
                      <a:pt x="367" y="6"/>
                    </a:lnTo>
                    <a:lnTo>
                      <a:pt x="365" y="8"/>
                    </a:lnTo>
                    <a:lnTo>
                      <a:pt x="363" y="10"/>
                    </a:lnTo>
                    <a:lnTo>
                      <a:pt x="358" y="10"/>
                    </a:lnTo>
                    <a:lnTo>
                      <a:pt x="357" y="10"/>
                    </a:lnTo>
                    <a:lnTo>
                      <a:pt x="352" y="10"/>
                    </a:lnTo>
                    <a:lnTo>
                      <a:pt x="347" y="11"/>
                    </a:lnTo>
                    <a:lnTo>
                      <a:pt x="340" y="8"/>
                    </a:lnTo>
                    <a:lnTo>
                      <a:pt x="339" y="5"/>
                    </a:lnTo>
                    <a:lnTo>
                      <a:pt x="335" y="5"/>
                    </a:lnTo>
                    <a:lnTo>
                      <a:pt x="337" y="13"/>
                    </a:lnTo>
                    <a:lnTo>
                      <a:pt x="335" y="16"/>
                    </a:lnTo>
                    <a:lnTo>
                      <a:pt x="334" y="16"/>
                    </a:lnTo>
                    <a:lnTo>
                      <a:pt x="330" y="16"/>
                    </a:lnTo>
                    <a:lnTo>
                      <a:pt x="330" y="18"/>
                    </a:lnTo>
                    <a:lnTo>
                      <a:pt x="329" y="21"/>
                    </a:lnTo>
                    <a:lnTo>
                      <a:pt x="330" y="18"/>
                    </a:lnTo>
                    <a:lnTo>
                      <a:pt x="327" y="15"/>
                    </a:lnTo>
                    <a:lnTo>
                      <a:pt x="325" y="13"/>
                    </a:lnTo>
                    <a:lnTo>
                      <a:pt x="325" y="11"/>
                    </a:lnTo>
                    <a:lnTo>
                      <a:pt x="325" y="8"/>
                    </a:lnTo>
                    <a:lnTo>
                      <a:pt x="325" y="5"/>
                    </a:lnTo>
                    <a:lnTo>
                      <a:pt x="322" y="3"/>
                    </a:lnTo>
                    <a:lnTo>
                      <a:pt x="319" y="5"/>
                    </a:lnTo>
                    <a:lnTo>
                      <a:pt x="316" y="6"/>
                    </a:lnTo>
                    <a:lnTo>
                      <a:pt x="314" y="6"/>
                    </a:lnTo>
                    <a:lnTo>
                      <a:pt x="312" y="6"/>
                    </a:lnTo>
                    <a:lnTo>
                      <a:pt x="311" y="6"/>
                    </a:lnTo>
                    <a:lnTo>
                      <a:pt x="311" y="5"/>
                    </a:lnTo>
                    <a:lnTo>
                      <a:pt x="309" y="5"/>
                    </a:lnTo>
                    <a:lnTo>
                      <a:pt x="306" y="3"/>
                    </a:lnTo>
                    <a:lnTo>
                      <a:pt x="302" y="3"/>
                    </a:lnTo>
                    <a:lnTo>
                      <a:pt x="301" y="3"/>
                    </a:lnTo>
                    <a:lnTo>
                      <a:pt x="299" y="3"/>
                    </a:lnTo>
                    <a:lnTo>
                      <a:pt x="299" y="2"/>
                    </a:lnTo>
                    <a:lnTo>
                      <a:pt x="298" y="3"/>
                    </a:lnTo>
                    <a:lnTo>
                      <a:pt x="296" y="3"/>
                    </a:lnTo>
                    <a:lnTo>
                      <a:pt x="294" y="3"/>
                    </a:lnTo>
                    <a:lnTo>
                      <a:pt x="294" y="10"/>
                    </a:lnTo>
                    <a:lnTo>
                      <a:pt x="294" y="11"/>
                    </a:lnTo>
                    <a:lnTo>
                      <a:pt x="293" y="15"/>
                    </a:lnTo>
                    <a:lnTo>
                      <a:pt x="291" y="16"/>
                    </a:lnTo>
                    <a:lnTo>
                      <a:pt x="288" y="16"/>
                    </a:lnTo>
                    <a:lnTo>
                      <a:pt x="284" y="16"/>
                    </a:lnTo>
                    <a:lnTo>
                      <a:pt x="278" y="18"/>
                    </a:lnTo>
                    <a:lnTo>
                      <a:pt x="276" y="18"/>
                    </a:lnTo>
                    <a:lnTo>
                      <a:pt x="275" y="21"/>
                    </a:lnTo>
                    <a:lnTo>
                      <a:pt x="275" y="23"/>
                    </a:lnTo>
                    <a:lnTo>
                      <a:pt x="273" y="25"/>
                    </a:lnTo>
                    <a:lnTo>
                      <a:pt x="271" y="28"/>
                    </a:lnTo>
                    <a:lnTo>
                      <a:pt x="268" y="28"/>
                    </a:lnTo>
                    <a:lnTo>
                      <a:pt x="268" y="29"/>
                    </a:lnTo>
                    <a:lnTo>
                      <a:pt x="268" y="28"/>
                    </a:lnTo>
                    <a:lnTo>
                      <a:pt x="263" y="28"/>
                    </a:lnTo>
                    <a:lnTo>
                      <a:pt x="260" y="25"/>
                    </a:lnTo>
                    <a:lnTo>
                      <a:pt x="258" y="23"/>
                    </a:lnTo>
                    <a:lnTo>
                      <a:pt x="256" y="20"/>
                    </a:lnTo>
                    <a:lnTo>
                      <a:pt x="256" y="15"/>
                    </a:lnTo>
                    <a:lnTo>
                      <a:pt x="253" y="13"/>
                    </a:lnTo>
                    <a:lnTo>
                      <a:pt x="250" y="15"/>
                    </a:lnTo>
                    <a:lnTo>
                      <a:pt x="248" y="20"/>
                    </a:lnTo>
                    <a:lnTo>
                      <a:pt x="248" y="21"/>
                    </a:lnTo>
                    <a:lnTo>
                      <a:pt x="247" y="23"/>
                    </a:lnTo>
                    <a:lnTo>
                      <a:pt x="245" y="25"/>
                    </a:lnTo>
                    <a:lnTo>
                      <a:pt x="242" y="23"/>
                    </a:lnTo>
                    <a:lnTo>
                      <a:pt x="238" y="16"/>
                    </a:lnTo>
                    <a:lnTo>
                      <a:pt x="235" y="15"/>
                    </a:lnTo>
                    <a:lnTo>
                      <a:pt x="233" y="15"/>
                    </a:lnTo>
                    <a:lnTo>
                      <a:pt x="227" y="23"/>
                    </a:lnTo>
                    <a:lnTo>
                      <a:pt x="224" y="25"/>
                    </a:lnTo>
                    <a:lnTo>
                      <a:pt x="227" y="29"/>
                    </a:lnTo>
                    <a:lnTo>
                      <a:pt x="229" y="31"/>
                    </a:lnTo>
                    <a:lnTo>
                      <a:pt x="230" y="34"/>
                    </a:lnTo>
                    <a:lnTo>
                      <a:pt x="227" y="38"/>
                    </a:lnTo>
                    <a:lnTo>
                      <a:pt x="220" y="39"/>
                    </a:lnTo>
                    <a:lnTo>
                      <a:pt x="222" y="38"/>
                    </a:lnTo>
                    <a:lnTo>
                      <a:pt x="225" y="38"/>
                    </a:lnTo>
                    <a:lnTo>
                      <a:pt x="227" y="36"/>
                    </a:lnTo>
                    <a:lnTo>
                      <a:pt x="230" y="34"/>
                    </a:lnTo>
                    <a:lnTo>
                      <a:pt x="229" y="31"/>
                    </a:lnTo>
                    <a:lnTo>
                      <a:pt x="227" y="29"/>
                    </a:lnTo>
                    <a:lnTo>
                      <a:pt x="224" y="28"/>
                    </a:lnTo>
                    <a:lnTo>
                      <a:pt x="224" y="26"/>
                    </a:lnTo>
                    <a:lnTo>
                      <a:pt x="222" y="26"/>
                    </a:lnTo>
                    <a:lnTo>
                      <a:pt x="222" y="29"/>
                    </a:lnTo>
                    <a:lnTo>
                      <a:pt x="222" y="31"/>
                    </a:lnTo>
                    <a:lnTo>
                      <a:pt x="220" y="31"/>
                    </a:lnTo>
                    <a:lnTo>
                      <a:pt x="220" y="33"/>
                    </a:lnTo>
                    <a:lnTo>
                      <a:pt x="219" y="33"/>
                    </a:lnTo>
                    <a:lnTo>
                      <a:pt x="217" y="29"/>
                    </a:lnTo>
                    <a:lnTo>
                      <a:pt x="215" y="31"/>
                    </a:lnTo>
                    <a:lnTo>
                      <a:pt x="212" y="31"/>
                    </a:lnTo>
                    <a:lnTo>
                      <a:pt x="210" y="31"/>
                    </a:lnTo>
                    <a:lnTo>
                      <a:pt x="209" y="31"/>
                    </a:lnTo>
                    <a:lnTo>
                      <a:pt x="207" y="31"/>
                    </a:lnTo>
                    <a:lnTo>
                      <a:pt x="206" y="31"/>
                    </a:lnTo>
                    <a:lnTo>
                      <a:pt x="204" y="31"/>
                    </a:lnTo>
                    <a:lnTo>
                      <a:pt x="202" y="34"/>
                    </a:lnTo>
                    <a:lnTo>
                      <a:pt x="201" y="36"/>
                    </a:lnTo>
                    <a:lnTo>
                      <a:pt x="202" y="38"/>
                    </a:lnTo>
                    <a:lnTo>
                      <a:pt x="204" y="39"/>
                    </a:lnTo>
                    <a:lnTo>
                      <a:pt x="207" y="39"/>
                    </a:lnTo>
                    <a:lnTo>
                      <a:pt x="206" y="43"/>
                    </a:lnTo>
                    <a:lnTo>
                      <a:pt x="204" y="44"/>
                    </a:lnTo>
                    <a:lnTo>
                      <a:pt x="201" y="46"/>
                    </a:lnTo>
                    <a:lnTo>
                      <a:pt x="201" y="48"/>
                    </a:lnTo>
                    <a:lnTo>
                      <a:pt x="201" y="51"/>
                    </a:lnTo>
                    <a:lnTo>
                      <a:pt x="199" y="51"/>
                    </a:lnTo>
                    <a:lnTo>
                      <a:pt x="201" y="53"/>
                    </a:lnTo>
                    <a:lnTo>
                      <a:pt x="201" y="56"/>
                    </a:lnTo>
                    <a:lnTo>
                      <a:pt x="199" y="56"/>
                    </a:lnTo>
                    <a:lnTo>
                      <a:pt x="199" y="57"/>
                    </a:lnTo>
                    <a:lnTo>
                      <a:pt x="202" y="59"/>
                    </a:lnTo>
                    <a:lnTo>
                      <a:pt x="204" y="59"/>
                    </a:lnTo>
                    <a:lnTo>
                      <a:pt x="206" y="59"/>
                    </a:lnTo>
                    <a:lnTo>
                      <a:pt x="207" y="57"/>
                    </a:lnTo>
                    <a:lnTo>
                      <a:pt x="210" y="57"/>
                    </a:lnTo>
                    <a:lnTo>
                      <a:pt x="214" y="59"/>
                    </a:lnTo>
                    <a:lnTo>
                      <a:pt x="214" y="61"/>
                    </a:lnTo>
                    <a:lnTo>
                      <a:pt x="215" y="61"/>
                    </a:lnTo>
                    <a:lnTo>
                      <a:pt x="217" y="62"/>
                    </a:lnTo>
                    <a:lnTo>
                      <a:pt x="219" y="66"/>
                    </a:lnTo>
                    <a:lnTo>
                      <a:pt x="222" y="69"/>
                    </a:lnTo>
                    <a:lnTo>
                      <a:pt x="225" y="67"/>
                    </a:lnTo>
                    <a:lnTo>
                      <a:pt x="227" y="69"/>
                    </a:lnTo>
                    <a:lnTo>
                      <a:pt x="225" y="71"/>
                    </a:lnTo>
                    <a:lnTo>
                      <a:pt x="227" y="71"/>
                    </a:lnTo>
                    <a:lnTo>
                      <a:pt x="227" y="74"/>
                    </a:lnTo>
                    <a:lnTo>
                      <a:pt x="229" y="76"/>
                    </a:lnTo>
                    <a:lnTo>
                      <a:pt x="229" y="77"/>
                    </a:lnTo>
                    <a:lnTo>
                      <a:pt x="227" y="77"/>
                    </a:lnTo>
                    <a:lnTo>
                      <a:pt x="225" y="80"/>
                    </a:lnTo>
                    <a:lnTo>
                      <a:pt x="225" y="84"/>
                    </a:lnTo>
                    <a:lnTo>
                      <a:pt x="222" y="90"/>
                    </a:lnTo>
                    <a:lnTo>
                      <a:pt x="220" y="103"/>
                    </a:lnTo>
                    <a:lnTo>
                      <a:pt x="222" y="105"/>
                    </a:lnTo>
                    <a:lnTo>
                      <a:pt x="229" y="100"/>
                    </a:lnTo>
                    <a:lnTo>
                      <a:pt x="230" y="95"/>
                    </a:lnTo>
                    <a:lnTo>
                      <a:pt x="232" y="92"/>
                    </a:lnTo>
                    <a:lnTo>
                      <a:pt x="233" y="90"/>
                    </a:lnTo>
                    <a:lnTo>
                      <a:pt x="237" y="84"/>
                    </a:lnTo>
                    <a:lnTo>
                      <a:pt x="237" y="82"/>
                    </a:lnTo>
                    <a:lnTo>
                      <a:pt x="240" y="80"/>
                    </a:lnTo>
                    <a:lnTo>
                      <a:pt x="240" y="79"/>
                    </a:lnTo>
                    <a:lnTo>
                      <a:pt x="243" y="77"/>
                    </a:lnTo>
                    <a:lnTo>
                      <a:pt x="245" y="76"/>
                    </a:lnTo>
                    <a:lnTo>
                      <a:pt x="247" y="76"/>
                    </a:lnTo>
                    <a:lnTo>
                      <a:pt x="250" y="76"/>
                    </a:lnTo>
                    <a:lnTo>
                      <a:pt x="250" y="77"/>
                    </a:lnTo>
                    <a:lnTo>
                      <a:pt x="250" y="79"/>
                    </a:lnTo>
                    <a:lnTo>
                      <a:pt x="250" y="80"/>
                    </a:lnTo>
                    <a:lnTo>
                      <a:pt x="250" y="82"/>
                    </a:lnTo>
                    <a:lnTo>
                      <a:pt x="253" y="82"/>
                    </a:lnTo>
                    <a:lnTo>
                      <a:pt x="255" y="84"/>
                    </a:lnTo>
                    <a:lnTo>
                      <a:pt x="256" y="84"/>
                    </a:lnTo>
                    <a:lnTo>
                      <a:pt x="258" y="87"/>
                    </a:lnTo>
                    <a:lnTo>
                      <a:pt x="260" y="94"/>
                    </a:lnTo>
                    <a:lnTo>
                      <a:pt x="260" y="95"/>
                    </a:lnTo>
                    <a:lnTo>
                      <a:pt x="258" y="97"/>
                    </a:lnTo>
                    <a:lnTo>
                      <a:pt x="256" y="99"/>
                    </a:lnTo>
                    <a:lnTo>
                      <a:pt x="258" y="103"/>
                    </a:lnTo>
                    <a:lnTo>
                      <a:pt x="261" y="103"/>
                    </a:lnTo>
                    <a:lnTo>
                      <a:pt x="261" y="100"/>
                    </a:lnTo>
                    <a:lnTo>
                      <a:pt x="265" y="99"/>
                    </a:lnTo>
                    <a:lnTo>
                      <a:pt x="265" y="97"/>
                    </a:lnTo>
                    <a:lnTo>
                      <a:pt x="266" y="95"/>
                    </a:lnTo>
                    <a:lnTo>
                      <a:pt x="270" y="97"/>
                    </a:lnTo>
                    <a:lnTo>
                      <a:pt x="271" y="99"/>
                    </a:lnTo>
                    <a:lnTo>
                      <a:pt x="273" y="99"/>
                    </a:lnTo>
                    <a:lnTo>
                      <a:pt x="276" y="103"/>
                    </a:lnTo>
                    <a:lnTo>
                      <a:pt x="279" y="103"/>
                    </a:lnTo>
                    <a:lnTo>
                      <a:pt x="279" y="107"/>
                    </a:lnTo>
                    <a:lnTo>
                      <a:pt x="281" y="108"/>
                    </a:lnTo>
                    <a:lnTo>
                      <a:pt x="279" y="108"/>
                    </a:lnTo>
                    <a:lnTo>
                      <a:pt x="279" y="110"/>
                    </a:lnTo>
                    <a:lnTo>
                      <a:pt x="281" y="112"/>
                    </a:lnTo>
                    <a:lnTo>
                      <a:pt x="281" y="113"/>
                    </a:lnTo>
                    <a:lnTo>
                      <a:pt x="283" y="113"/>
                    </a:lnTo>
                    <a:lnTo>
                      <a:pt x="281" y="117"/>
                    </a:lnTo>
                    <a:lnTo>
                      <a:pt x="281" y="118"/>
                    </a:lnTo>
                    <a:lnTo>
                      <a:pt x="279" y="120"/>
                    </a:lnTo>
                    <a:lnTo>
                      <a:pt x="279" y="123"/>
                    </a:lnTo>
                    <a:lnTo>
                      <a:pt x="281" y="125"/>
                    </a:lnTo>
                    <a:lnTo>
                      <a:pt x="279" y="128"/>
                    </a:lnTo>
                    <a:lnTo>
                      <a:pt x="281" y="127"/>
                    </a:lnTo>
                    <a:lnTo>
                      <a:pt x="283" y="128"/>
                    </a:lnTo>
                    <a:lnTo>
                      <a:pt x="281" y="131"/>
                    </a:lnTo>
                    <a:lnTo>
                      <a:pt x="276" y="133"/>
                    </a:lnTo>
                    <a:lnTo>
                      <a:pt x="271" y="136"/>
                    </a:lnTo>
                    <a:lnTo>
                      <a:pt x="266" y="141"/>
                    </a:lnTo>
                    <a:lnTo>
                      <a:pt x="268" y="143"/>
                    </a:lnTo>
                    <a:lnTo>
                      <a:pt x="266" y="145"/>
                    </a:lnTo>
                    <a:lnTo>
                      <a:pt x="265" y="146"/>
                    </a:lnTo>
                    <a:lnTo>
                      <a:pt x="260" y="145"/>
                    </a:lnTo>
                    <a:lnTo>
                      <a:pt x="256" y="145"/>
                    </a:lnTo>
                    <a:lnTo>
                      <a:pt x="255" y="148"/>
                    </a:lnTo>
                    <a:lnTo>
                      <a:pt x="256" y="148"/>
                    </a:lnTo>
                    <a:lnTo>
                      <a:pt x="256" y="150"/>
                    </a:lnTo>
                    <a:lnTo>
                      <a:pt x="255" y="153"/>
                    </a:lnTo>
                    <a:lnTo>
                      <a:pt x="250" y="156"/>
                    </a:lnTo>
                    <a:lnTo>
                      <a:pt x="248" y="158"/>
                    </a:lnTo>
                    <a:lnTo>
                      <a:pt x="250" y="163"/>
                    </a:lnTo>
                    <a:lnTo>
                      <a:pt x="253" y="163"/>
                    </a:lnTo>
                    <a:lnTo>
                      <a:pt x="255" y="166"/>
                    </a:lnTo>
                    <a:lnTo>
                      <a:pt x="255" y="168"/>
                    </a:lnTo>
                    <a:lnTo>
                      <a:pt x="258" y="169"/>
                    </a:lnTo>
                    <a:lnTo>
                      <a:pt x="253" y="173"/>
                    </a:lnTo>
                    <a:lnTo>
                      <a:pt x="255" y="174"/>
                    </a:lnTo>
                    <a:lnTo>
                      <a:pt x="256" y="173"/>
                    </a:lnTo>
                    <a:lnTo>
                      <a:pt x="258" y="174"/>
                    </a:lnTo>
                    <a:lnTo>
                      <a:pt x="258" y="176"/>
                    </a:lnTo>
                    <a:lnTo>
                      <a:pt x="258" y="177"/>
                    </a:lnTo>
                    <a:lnTo>
                      <a:pt x="260" y="174"/>
                    </a:lnTo>
                    <a:lnTo>
                      <a:pt x="261" y="179"/>
                    </a:lnTo>
                    <a:lnTo>
                      <a:pt x="258" y="181"/>
                    </a:lnTo>
                    <a:lnTo>
                      <a:pt x="256" y="181"/>
                    </a:lnTo>
                    <a:lnTo>
                      <a:pt x="256" y="182"/>
                    </a:lnTo>
                    <a:lnTo>
                      <a:pt x="255" y="184"/>
                    </a:lnTo>
                    <a:lnTo>
                      <a:pt x="253" y="182"/>
                    </a:lnTo>
                    <a:lnTo>
                      <a:pt x="250" y="182"/>
                    </a:lnTo>
                    <a:lnTo>
                      <a:pt x="252" y="186"/>
                    </a:lnTo>
                    <a:lnTo>
                      <a:pt x="253" y="184"/>
                    </a:lnTo>
                    <a:lnTo>
                      <a:pt x="258" y="191"/>
                    </a:lnTo>
                    <a:lnTo>
                      <a:pt x="260" y="189"/>
                    </a:lnTo>
                    <a:lnTo>
                      <a:pt x="263" y="191"/>
                    </a:lnTo>
                    <a:lnTo>
                      <a:pt x="268" y="189"/>
                    </a:lnTo>
                    <a:lnTo>
                      <a:pt x="266" y="186"/>
                    </a:lnTo>
                    <a:lnTo>
                      <a:pt x="270" y="186"/>
                    </a:lnTo>
                    <a:lnTo>
                      <a:pt x="270" y="187"/>
                    </a:lnTo>
                    <a:lnTo>
                      <a:pt x="273" y="191"/>
                    </a:lnTo>
                    <a:lnTo>
                      <a:pt x="275" y="194"/>
                    </a:lnTo>
                    <a:lnTo>
                      <a:pt x="271" y="196"/>
                    </a:lnTo>
                    <a:lnTo>
                      <a:pt x="271" y="197"/>
                    </a:lnTo>
                    <a:lnTo>
                      <a:pt x="268" y="197"/>
                    </a:lnTo>
                    <a:lnTo>
                      <a:pt x="265" y="200"/>
                    </a:lnTo>
                    <a:lnTo>
                      <a:pt x="261" y="200"/>
                    </a:lnTo>
                    <a:lnTo>
                      <a:pt x="261" y="205"/>
                    </a:lnTo>
                    <a:lnTo>
                      <a:pt x="256" y="205"/>
                    </a:lnTo>
                    <a:lnTo>
                      <a:pt x="256" y="207"/>
                    </a:lnTo>
                    <a:lnTo>
                      <a:pt x="247" y="207"/>
                    </a:lnTo>
                    <a:lnTo>
                      <a:pt x="247" y="210"/>
                    </a:lnTo>
                    <a:lnTo>
                      <a:pt x="240" y="215"/>
                    </a:lnTo>
                    <a:lnTo>
                      <a:pt x="235" y="215"/>
                    </a:lnTo>
                    <a:lnTo>
                      <a:pt x="232" y="217"/>
                    </a:lnTo>
                    <a:lnTo>
                      <a:pt x="224" y="219"/>
                    </a:lnTo>
                    <a:lnTo>
                      <a:pt x="222" y="217"/>
                    </a:lnTo>
                    <a:lnTo>
                      <a:pt x="217" y="220"/>
                    </a:lnTo>
                    <a:lnTo>
                      <a:pt x="212" y="222"/>
                    </a:lnTo>
                    <a:lnTo>
                      <a:pt x="210" y="220"/>
                    </a:lnTo>
                    <a:lnTo>
                      <a:pt x="201" y="224"/>
                    </a:lnTo>
                    <a:lnTo>
                      <a:pt x="199" y="222"/>
                    </a:lnTo>
                    <a:lnTo>
                      <a:pt x="196" y="227"/>
                    </a:lnTo>
                    <a:lnTo>
                      <a:pt x="189" y="228"/>
                    </a:lnTo>
                    <a:lnTo>
                      <a:pt x="181" y="233"/>
                    </a:lnTo>
                    <a:lnTo>
                      <a:pt x="181" y="232"/>
                    </a:lnTo>
                    <a:lnTo>
                      <a:pt x="183" y="232"/>
                    </a:lnTo>
                    <a:lnTo>
                      <a:pt x="181" y="232"/>
                    </a:lnTo>
                    <a:lnTo>
                      <a:pt x="164" y="233"/>
                    </a:lnTo>
                    <a:lnTo>
                      <a:pt x="164" y="235"/>
                    </a:lnTo>
                    <a:lnTo>
                      <a:pt x="160" y="238"/>
                    </a:lnTo>
                    <a:lnTo>
                      <a:pt x="153" y="237"/>
                    </a:lnTo>
                    <a:lnTo>
                      <a:pt x="151" y="238"/>
                    </a:lnTo>
                    <a:lnTo>
                      <a:pt x="151" y="237"/>
                    </a:lnTo>
                    <a:lnTo>
                      <a:pt x="148" y="235"/>
                    </a:lnTo>
                    <a:lnTo>
                      <a:pt x="148" y="242"/>
                    </a:lnTo>
                    <a:lnTo>
                      <a:pt x="141" y="240"/>
                    </a:lnTo>
                    <a:lnTo>
                      <a:pt x="133" y="240"/>
                    </a:lnTo>
                    <a:lnTo>
                      <a:pt x="125" y="243"/>
                    </a:lnTo>
                    <a:lnTo>
                      <a:pt x="117" y="238"/>
                    </a:lnTo>
                    <a:lnTo>
                      <a:pt x="115" y="238"/>
                    </a:lnTo>
                    <a:lnTo>
                      <a:pt x="114" y="247"/>
                    </a:lnTo>
                    <a:lnTo>
                      <a:pt x="115" y="251"/>
                    </a:lnTo>
                    <a:lnTo>
                      <a:pt x="123" y="250"/>
                    </a:lnTo>
                    <a:lnTo>
                      <a:pt x="125" y="255"/>
                    </a:lnTo>
                    <a:lnTo>
                      <a:pt x="130" y="255"/>
                    </a:lnTo>
                    <a:lnTo>
                      <a:pt x="130" y="256"/>
                    </a:lnTo>
                    <a:lnTo>
                      <a:pt x="122" y="258"/>
                    </a:lnTo>
                    <a:lnTo>
                      <a:pt x="122" y="260"/>
                    </a:lnTo>
                    <a:lnTo>
                      <a:pt x="123" y="263"/>
                    </a:lnTo>
                    <a:lnTo>
                      <a:pt x="122" y="261"/>
                    </a:lnTo>
                    <a:lnTo>
                      <a:pt x="120" y="265"/>
                    </a:lnTo>
                    <a:lnTo>
                      <a:pt x="117" y="263"/>
                    </a:lnTo>
                    <a:lnTo>
                      <a:pt x="115" y="268"/>
                    </a:lnTo>
                    <a:lnTo>
                      <a:pt x="110" y="268"/>
                    </a:lnTo>
                    <a:lnTo>
                      <a:pt x="114" y="276"/>
                    </a:lnTo>
                    <a:lnTo>
                      <a:pt x="114" y="278"/>
                    </a:lnTo>
                    <a:lnTo>
                      <a:pt x="110" y="276"/>
                    </a:lnTo>
                    <a:lnTo>
                      <a:pt x="107" y="278"/>
                    </a:lnTo>
                    <a:lnTo>
                      <a:pt x="100" y="278"/>
                    </a:lnTo>
                    <a:lnTo>
                      <a:pt x="95" y="266"/>
                    </a:lnTo>
                    <a:lnTo>
                      <a:pt x="92" y="268"/>
                    </a:lnTo>
                    <a:lnTo>
                      <a:pt x="94" y="273"/>
                    </a:lnTo>
                    <a:lnTo>
                      <a:pt x="89" y="273"/>
                    </a:lnTo>
                    <a:lnTo>
                      <a:pt x="89" y="276"/>
                    </a:lnTo>
                    <a:lnTo>
                      <a:pt x="86" y="276"/>
                    </a:lnTo>
                    <a:lnTo>
                      <a:pt x="81" y="273"/>
                    </a:lnTo>
                    <a:lnTo>
                      <a:pt x="72" y="274"/>
                    </a:lnTo>
                    <a:lnTo>
                      <a:pt x="69" y="268"/>
                    </a:lnTo>
                    <a:lnTo>
                      <a:pt x="68" y="263"/>
                    </a:lnTo>
                    <a:lnTo>
                      <a:pt x="64" y="258"/>
                    </a:lnTo>
                    <a:lnTo>
                      <a:pt x="64" y="255"/>
                    </a:lnTo>
                    <a:lnTo>
                      <a:pt x="61" y="251"/>
                    </a:lnTo>
                    <a:lnTo>
                      <a:pt x="56" y="251"/>
                    </a:lnTo>
                    <a:lnTo>
                      <a:pt x="56" y="253"/>
                    </a:lnTo>
                    <a:lnTo>
                      <a:pt x="51" y="253"/>
                    </a:lnTo>
                    <a:lnTo>
                      <a:pt x="51" y="250"/>
                    </a:lnTo>
                    <a:lnTo>
                      <a:pt x="49" y="253"/>
                    </a:lnTo>
                    <a:lnTo>
                      <a:pt x="46" y="253"/>
                    </a:lnTo>
                    <a:lnTo>
                      <a:pt x="46" y="250"/>
                    </a:lnTo>
                    <a:lnTo>
                      <a:pt x="43" y="250"/>
                    </a:lnTo>
                    <a:lnTo>
                      <a:pt x="38" y="255"/>
                    </a:lnTo>
                    <a:lnTo>
                      <a:pt x="38" y="256"/>
                    </a:lnTo>
                    <a:lnTo>
                      <a:pt x="38" y="263"/>
                    </a:lnTo>
                    <a:lnTo>
                      <a:pt x="33" y="265"/>
                    </a:lnTo>
                    <a:lnTo>
                      <a:pt x="31" y="268"/>
                    </a:lnTo>
                    <a:lnTo>
                      <a:pt x="26" y="273"/>
                    </a:lnTo>
                    <a:lnTo>
                      <a:pt x="23" y="274"/>
                    </a:lnTo>
                    <a:lnTo>
                      <a:pt x="22" y="278"/>
                    </a:lnTo>
                    <a:lnTo>
                      <a:pt x="23" y="286"/>
                    </a:lnTo>
                    <a:lnTo>
                      <a:pt x="20" y="288"/>
                    </a:lnTo>
                    <a:lnTo>
                      <a:pt x="18" y="289"/>
                    </a:lnTo>
                    <a:lnTo>
                      <a:pt x="15" y="299"/>
                    </a:lnTo>
                    <a:lnTo>
                      <a:pt x="15" y="304"/>
                    </a:lnTo>
                    <a:lnTo>
                      <a:pt x="10" y="311"/>
                    </a:lnTo>
                    <a:lnTo>
                      <a:pt x="12" y="314"/>
                    </a:lnTo>
                    <a:lnTo>
                      <a:pt x="10" y="319"/>
                    </a:lnTo>
                    <a:lnTo>
                      <a:pt x="5" y="319"/>
                    </a:lnTo>
                    <a:lnTo>
                      <a:pt x="8" y="321"/>
                    </a:lnTo>
                    <a:lnTo>
                      <a:pt x="10" y="324"/>
                    </a:lnTo>
                    <a:lnTo>
                      <a:pt x="10" y="327"/>
                    </a:lnTo>
                    <a:lnTo>
                      <a:pt x="12" y="330"/>
                    </a:lnTo>
                    <a:lnTo>
                      <a:pt x="7" y="334"/>
                    </a:lnTo>
                    <a:lnTo>
                      <a:pt x="3" y="342"/>
                    </a:lnTo>
                    <a:lnTo>
                      <a:pt x="0" y="348"/>
                    </a:lnTo>
                    <a:lnTo>
                      <a:pt x="7" y="358"/>
                    </a:lnTo>
                    <a:lnTo>
                      <a:pt x="12" y="363"/>
                    </a:lnTo>
                    <a:lnTo>
                      <a:pt x="8" y="370"/>
                    </a:lnTo>
                    <a:lnTo>
                      <a:pt x="8" y="371"/>
                    </a:lnTo>
                    <a:lnTo>
                      <a:pt x="8" y="373"/>
                    </a:lnTo>
                    <a:lnTo>
                      <a:pt x="10" y="373"/>
                    </a:lnTo>
                    <a:lnTo>
                      <a:pt x="10" y="375"/>
                    </a:lnTo>
                    <a:lnTo>
                      <a:pt x="8" y="375"/>
                    </a:lnTo>
                    <a:lnTo>
                      <a:pt x="7" y="381"/>
                    </a:lnTo>
                    <a:lnTo>
                      <a:pt x="8" y="383"/>
                    </a:lnTo>
                    <a:lnTo>
                      <a:pt x="12" y="381"/>
                    </a:lnTo>
                    <a:lnTo>
                      <a:pt x="8" y="383"/>
                    </a:lnTo>
                    <a:lnTo>
                      <a:pt x="7" y="381"/>
                    </a:lnTo>
                    <a:lnTo>
                      <a:pt x="7" y="383"/>
                    </a:lnTo>
                    <a:lnTo>
                      <a:pt x="7" y="390"/>
                    </a:lnTo>
                    <a:lnTo>
                      <a:pt x="5" y="391"/>
                    </a:lnTo>
                    <a:lnTo>
                      <a:pt x="10" y="391"/>
                    </a:lnTo>
                    <a:lnTo>
                      <a:pt x="13" y="396"/>
                    </a:lnTo>
                    <a:lnTo>
                      <a:pt x="17" y="398"/>
                    </a:lnTo>
                    <a:lnTo>
                      <a:pt x="18" y="390"/>
                    </a:lnTo>
                    <a:lnTo>
                      <a:pt x="17" y="385"/>
                    </a:lnTo>
                    <a:lnTo>
                      <a:pt x="17" y="383"/>
                    </a:lnTo>
                    <a:lnTo>
                      <a:pt x="15" y="378"/>
                    </a:lnTo>
                    <a:lnTo>
                      <a:pt x="17" y="376"/>
                    </a:lnTo>
                    <a:lnTo>
                      <a:pt x="18" y="378"/>
                    </a:lnTo>
                    <a:lnTo>
                      <a:pt x="22" y="378"/>
                    </a:lnTo>
                    <a:lnTo>
                      <a:pt x="23" y="378"/>
                    </a:lnTo>
                    <a:lnTo>
                      <a:pt x="23" y="380"/>
                    </a:lnTo>
                    <a:lnTo>
                      <a:pt x="22" y="383"/>
                    </a:lnTo>
                    <a:lnTo>
                      <a:pt x="23" y="390"/>
                    </a:lnTo>
                    <a:lnTo>
                      <a:pt x="28" y="393"/>
                    </a:lnTo>
                    <a:lnTo>
                      <a:pt x="30" y="386"/>
                    </a:lnTo>
                    <a:lnTo>
                      <a:pt x="33" y="385"/>
                    </a:lnTo>
                    <a:lnTo>
                      <a:pt x="30" y="381"/>
                    </a:lnTo>
                    <a:lnTo>
                      <a:pt x="31" y="380"/>
                    </a:lnTo>
                    <a:lnTo>
                      <a:pt x="31" y="376"/>
                    </a:lnTo>
                    <a:lnTo>
                      <a:pt x="33" y="378"/>
                    </a:lnTo>
                    <a:lnTo>
                      <a:pt x="35" y="376"/>
                    </a:lnTo>
                    <a:lnTo>
                      <a:pt x="35" y="383"/>
                    </a:lnTo>
                    <a:lnTo>
                      <a:pt x="38" y="383"/>
                    </a:lnTo>
                    <a:lnTo>
                      <a:pt x="31" y="390"/>
                    </a:lnTo>
                    <a:lnTo>
                      <a:pt x="33" y="393"/>
                    </a:lnTo>
                    <a:lnTo>
                      <a:pt x="38" y="393"/>
                    </a:lnTo>
                    <a:lnTo>
                      <a:pt x="36" y="393"/>
                    </a:lnTo>
                    <a:lnTo>
                      <a:pt x="36" y="395"/>
                    </a:lnTo>
                    <a:lnTo>
                      <a:pt x="41" y="396"/>
                    </a:lnTo>
                    <a:lnTo>
                      <a:pt x="48" y="391"/>
                    </a:lnTo>
                    <a:lnTo>
                      <a:pt x="49" y="383"/>
                    </a:lnTo>
                    <a:lnTo>
                      <a:pt x="51" y="380"/>
                    </a:lnTo>
                    <a:lnTo>
                      <a:pt x="51" y="383"/>
                    </a:lnTo>
                    <a:lnTo>
                      <a:pt x="51" y="381"/>
                    </a:lnTo>
                    <a:lnTo>
                      <a:pt x="51" y="383"/>
                    </a:lnTo>
                    <a:lnTo>
                      <a:pt x="53" y="381"/>
                    </a:lnTo>
                    <a:lnTo>
                      <a:pt x="53" y="385"/>
                    </a:lnTo>
                    <a:lnTo>
                      <a:pt x="49" y="388"/>
                    </a:lnTo>
                    <a:lnTo>
                      <a:pt x="51" y="391"/>
                    </a:lnTo>
                    <a:lnTo>
                      <a:pt x="46" y="393"/>
                    </a:lnTo>
                    <a:lnTo>
                      <a:pt x="46" y="396"/>
                    </a:lnTo>
                    <a:lnTo>
                      <a:pt x="43" y="396"/>
                    </a:lnTo>
                    <a:lnTo>
                      <a:pt x="40" y="399"/>
                    </a:lnTo>
                    <a:lnTo>
                      <a:pt x="33" y="396"/>
                    </a:lnTo>
                    <a:lnTo>
                      <a:pt x="30" y="395"/>
                    </a:lnTo>
                    <a:lnTo>
                      <a:pt x="25" y="398"/>
                    </a:lnTo>
                    <a:lnTo>
                      <a:pt x="23" y="404"/>
                    </a:lnTo>
                    <a:lnTo>
                      <a:pt x="20" y="404"/>
                    </a:lnTo>
                    <a:lnTo>
                      <a:pt x="18" y="409"/>
                    </a:lnTo>
                    <a:lnTo>
                      <a:pt x="15" y="409"/>
                    </a:lnTo>
                    <a:lnTo>
                      <a:pt x="18" y="406"/>
                    </a:lnTo>
                    <a:lnTo>
                      <a:pt x="17" y="406"/>
                    </a:lnTo>
                    <a:lnTo>
                      <a:pt x="15" y="409"/>
                    </a:lnTo>
                    <a:lnTo>
                      <a:pt x="25" y="416"/>
                    </a:lnTo>
                    <a:lnTo>
                      <a:pt x="30" y="418"/>
                    </a:lnTo>
                    <a:lnTo>
                      <a:pt x="33" y="421"/>
                    </a:lnTo>
                    <a:lnTo>
                      <a:pt x="40" y="424"/>
                    </a:lnTo>
                    <a:lnTo>
                      <a:pt x="48" y="432"/>
                    </a:lnTo>
                    <a:lnTo>
                      <a:pt x="49" y="434"/>
                    </a:lnTo>
                    <a:lnTo>
                      <a:pt x="54" y="437"/>
                    </a:lnTo>
                    <a:lnTo>
                      <a:pt x="58" y="442"/>
                    </a:lnTo>
                    <a:lnTo>
                      <a:pt x="61" y="442"/>
                    </a:lnTo>
                    <a:lnTo>
                      <a:pt x="63" y="439"/>
                    </a:lnTo>
                    <a:close/>
                    <a:moveTo>
                      <a:pt x="233" y="15"/>
                    </a:moveTo>
                    <a:lnTo>
                      <a:pt x="235" y="15"/>
                    </a:lnTo>
                    <a:lnTo>
                      <a:pt x="233" y="15"/>
                    </a:lnTo>
                    <a:close/>
                    <a:moveTo>
                      <a:pt x="232" y="15"/>
                    </a:moveTo>
                    <a:lnTo>
                      <a:pt x="233" y="15"/>
                    </a:lnTo>
                    <a:lnTo>
                      <a:pt x="233" y="16"/>
                    </a:lnTo>
                    <a:lnTo>
                      <a:pt x="232" y="16"/>
                    </a:lnTo>
                    <a:lnTo>
                      <a:pt x="232" y="15"/>
                    </a:lnTo>
                    <a:close/>
                    <a:moveTo>
                      <a:pt x="567" y="36"/>
                    </a:moveTo>
                    <a:lnTo>
                      <a:pt x="569" y="36"/>
                    </a:lnTo>
                    <a:lnTo>
                      <a:pt x="569" y="39"/>
                    </a:lnTo>
                    <a:lnTo>
                      <a:pt x="567" y="39"/>
                    </a:lnTo>
                    <a:lnTo>
                      <a:pt x="567" y="36"/>
                    </a:lnTo>
                    <a:close/>
                    <a:moveTo>
                      <a:pt x="659" y="85"/>
                    </a:moveTo>
                    <a:lnTo>
                      <a:pt x="666" y="80"/>
                    </a:lnTo>
                    <a:lnTo>
                      <a:pt x="669" y="82"/>
                    </a:lnTo>
                    <a:lnTo>
                      <a:pt x="670" y="79"/>
                    </a:lnTo>
                    <a:lnTo>
                      <a:pt x="666" y="69"/>
                    </a:lnTo>
                    <a:lnTo>
                      <a:pt x="657" y="61"/>
                    </a:lnTo>
                    <a:lnTo>
                      <a:pt x="652" y="54"/>
                    </a:lnTo>
                    <a:lnTo>
                      <a:pt x="646" y="51"/>
                    </a:lnTo>
                    <a:lnTo>
                      <a:pt x="636" y="51"/>
                    </a:lnTo>
                    <a:lnTo>
                      <a:pt x="623" y="48"/>
                    </a:lnTo>
                    <a:lnTo>
                      <a:pt x="615" y="41"/>
                    </a:lnTo>
                    <a:lnTo>
                      <a:pt x="606" y="41"/>
                    </a:lnTo>
                    <a:lnTo>
                      <a:pt x="601" y="39"/>
                    </a:lnTo>
                    <a:lnTo>
                      <a:pt x="598" y="38"/>
                    </a:lnTo>
                    <a:lnTo>
                      <a:pt x="597" y="39"/>
                    </a:lnTo>
                    <a:lnTo>
                      <a:pt x="600" y="43"/>
                    </a:lnTo>
                    <a:lnTo>
                      <a:pt x="597" y="49"/>
                    </a:lnTo>
                    <a:lnTo>
                      <a:pt x="595" y="49"/>
                    </a:lnTo>
                    <a:lnTo>
                      <a:pt x="595" y="51"/>
                    </a:lnTo>
                    <a:lnTo>
                      <a:pt x="597" y="56"/>
                    </a:lnTo>
                    <a:lnTo>
                      <a:pt x="597" y="54"/>
                    </a:lnTo>
                    <a:lnTo>
                      <a:pt x="598" y="54"/>
                    </a:lnTo>
                    <a:lnTo>
                      <a:pt x="597" y="54"/>
                    </a:lnTo>
                    <a:lnTo>
                      <a:pt x="597" y="57"/>
                    </a:lnTo>
                    <a:lnTo>
                      <a:pt x="593" y="59"/>
                    </a:lnTo>
                    <a:lnTo>
                      <a:pt x="590" y="56"/>
                    </a:lnTo>
                    <a:lnTo>
                      <a:pt x="593" y="62"/>
                    </a:lnTo>
                    <a:lnTo>
                      <a:pt x="600" y="67"/>
                    </a:lnTo>
                    <a:lnTo>
                      <a:pt x="600" y="69"/>
                    </a:lnTo>
                    <a:lnTo>
                      <a:pt x="605" y="71"/>
                    </a:lnTo>
                    <a:lnTo>
                      <a:pt x="606" y="76"/>
                    </a:lnTo>
                    <a:lnTo>
                      <a:pt x="605" y="76"/>
                    </a:lnTo>
                    <a:lnTo>
                      <a:pt x="605" y="80"/>
                    </a:lnTo>
                    <a:lnTo>
                      <a:pt x="608" y="82"/>
                    </a:lnTo>
                    <a:lnTo>
                      <a:pt x="611" y="80"/>
                    </a:lnTo>
                    <a:lnTo>
                      <a:pt x="610" y="80"/>
                    </a:lnTo>
                    <a:lnTo>
                      <a:pt x="613" y="79"/>
                    </a:lnTo>
                    <a:lnTo>
                      <a:pt x="615" y="80"/>
                    </a:lnTo>
                    <a:lnTo>
                      <a:pt x="616" y="80"/>
                    </a:lnTo>
                    <a:lnTo>
                      <a:pt x="620" y="80"/>
                    </a:lnTo>
                    <a:lnTo>
                      <a:pt x="620" y="79"/>
                    </a:lnTo>
                    <a:lnTo>
                      <a:pt x="633" y="84"/>
                    </a:lnTo>
                    <a:lnTo>
                      <a:pt x="634" y="84"/>
                    </a:lnTo>
                    <a:lnTo>
                      <a:pt x="634" y="82"/>
                    </a:lnTo>
                    <a:lnTo>
                      <a:pt x="631" y="80"/>
                    </a:lnTo>
                    <a:lnTo>
                      <a:pt x="634" y="80"/>
                    </a:lnTo>
                    <a:lnTo>
                      <a:pt x="638" y="84"/>
                    </a:lnTo>
                    <a:lnTo>
                      <a:pt x="638" y="80"/>
                    </a:lnTo>
                    <a:lnTo>
                      <a:pt x="638" y="84"/>
                    </a:lnTo>
                    <a:lnTo>
                      <a:pt x="643" y="84"/>
                    </a:lnTo>
                    <a:lnTo>
                      <a:pt x="646" y="87"/>
                    </a:lnTo>
                    <a:lnTo>
                      <a:pt x="651" y="89"/>
                    </a:lnTo>
                    <a:lnTo>
                      <a:pt x="659" y="85"/>
                    </a:lnTo>
                    <a:close/>
                    <a:moveTo>
                      <a:pt x="224" y="38"/>
                    </a:moveTo>
                    <a:lnTo>
                      <a:pt x="222" y="38"/>
                    </a:lnTo>
                    <a:lnTo>
                      <a:pt x="222" y="39"/>
                    </a:lnTo>
                    <a:lnTo>
                      <a:pt x="224" y="38"/>
                    </a:lnTo>
                    <a:close/>
                    <a:moveTo>
                      <a:pt x="574" y="53"/>
                    </a:moveTo>
                    <a:lnTo>
                      <a:pt x="575" y="53"/>
                    </a:lnTo>
                    <a:lnTo>
                      <a:pt x="578" y="56"/>
                    </a:lnTo>
                    <a:lnTo>
                      <a:pt x="577" y="51"/>
                    </a:lnTo>
                    <a:lnTo>
                      <a:pt x="570" y="51"/>
                    </a:lnTo>
                    <a:lnTo>
                      <a:pt x="569" y="54"/>
                    </a:lnTo>
                    <a:lnTo>
                      <a:pt x="570" y="53"/>
                    </a:lnTo>
                    <a:lnTo>
                      <a:pt x="572" y="56"/>
                    </a:lnTo>
                    <a:lnTo>
                      <a:pt x="574" y="53"/>
                    </a:lnTo>
                    <a:close/>
                    <a:moveTo>
                      <a:pt x="578" y="57"/>
                    </a:moveTo>
                    <a:lnTo>
                      <a:pt x="575" y="56"/>
                    </a:lnTo>
                    <a:lnTo>
                      <a:pt x="575" y="59"/>
                    </a:lnTo>
                    <a:lnTo>
                      <a:pt x="574" y="59"/>
                    </a:lnTo>
                    <a:lnTo>
                      <a:pt x="574" y="61"/>
                    </a:lnTo>
                    <a:lnTo>
                      <a:pt x="572" y="57"/>
                    </a:lnTo>
                    <a:lnTo>
                      <a:pt x="570" y="59"/>
                    </a:lnTo>
                    <a:lnTo>
                      <a:pt x="570" y="61"/>
                    </a:lnTo>
                    <a:lnTo>
                      <a:pt x="572" y="59"/>
                    </a:lnTo>
                    <a:lnTo>
                      <a:pt x="572" y="64"/>
                    </a:lnTo>
                    <a:lnTo>
                      <a:pt x="575" y="64"/>
                    </a:lnTo>
                    <a:lnTo>
                      <a:pt x="580" y="66"/>
                    </a:lnTo>
                    <a:lnTo>
                      <a:pt x="578" y="57"/>
                    </a:lnTo>
                    <a:close/>
                    <a:moveTo>
                      <a:pt x="588" y="57"/>
                    </a:moveTo>
                    <a:lnTo>
                      <a:pt x="590" y="57"/>
                    </a:lnTo>
                    <a:lnTo>
                      <a:pt x="590" y="59"/>
                    </a:lnTo>
                    <a:lnTo>
                      <a:pt x="588" y="59"/>
                    </a:lnTo>
                    <a:lnTo>
                      <a:pt x="588" y="57"/>
                    </a:lnTo>
                    <a:close/>
                    <a:moveTo>
                      <a:pt x="541" y="62"/>
                    </a:moveTo>
                    <a:lnTo>
                      <a:pt x="539" y="59"/>
                    </a:lnTo>
                    <a:lnTo>
                      <a:pt x="537" y="61"/>
                    </a:lnTo>
                    <a:lnTo>
                      <a:pt x="537" y="59"/>
                    </a:lnTo>
                    <a:lnTo>
                      <a:pt x="534" y="59"/>
                    </a:lnTo>
                    <a:lnTo>
                      <a:pt x="534" y="62"/>
                    </a:lnTo>
                    <a:lnTo>
                      <a:pt x="541" y="62"/>
                    </a:lnTo>
                    <a:close/>
                    <a:moveTo>
                      <a:pt x="636" y="82"/>
                    </a:moveTo>
                    <a:lnTo>
                      <a:pt x="638" y="82"/>
                    </a:lnTo>
                    <a:lnTo>
                      <a:pt x="638" y="84"/>
                    </a:lnTo>
                    <a:lnTo>
                      <a:pt x="636" y="84"/>
                    </a:lnTo>
                    <a:lnTo>
                      <a:pt x="636" y="82"/>
                    </a:lnTo>
                    <a:close/>
                    <a:moveTo>
                      <a:pt x="624" y="87"/>
                    </a:moveTo>
                    <a:lnTo>
                      <a:pt x="626" y="89"/>
                    </a:lnTo>
                    <a:lnTo>
                      <a:pt x="629" y="89"/>
                    </a:lnTo>
                    <a:lnTo>
                      <a:pt x="624" y="87"/>
                    </a:lnTo>
                    <a:close/>
                    <a:moveTo>
                      <a:pt x="836" y="107"/>
                    </a:moveTo>
                    <a:lnTo>
                      <a:pt x="833" y="107"/>
                    </a:lnTo>
                    <a:lnTo>
                      <a:pt x="835" y="107"/>
                    </a:lnTo>
                    <a:lnTo>
                      <a:pt x="836" y="107"/>
                    </a:lnTo>
                    <a:close/>
                    <a:moveTo>
                      <a:pt x="25" y="393"/>
                    </a:moveTo>
                    <a:lnTo>
                      <a:pt x="26" y="393"/>
                    </a:lnTo>
                    <a:lnTo>
                      <a:pt x="25" y="393"/>
                    </a:lnTo>
                    <a:close/>
                    <a:moveTo>
                      <a:pt x="17" y="398"/>
                    </a:moveTo>
                    <a:lnTo>
                      <a:pt x="18" y="398"/>
                    </a:lnTo>
                    <a:lnTo>
                      <a:pt x="18" y="399"/>
                    </a:lnTo>
                    <a:lnTo>
                      <a:pt x="17" y="399"/>
                    </a:lnTo>
                    <a:lnTo>
                      <a:pt x="17" y="398"/>
                    </a:lnTo>
                    <a:close/>
                    <a:moveTo>
                      <a:pt x="353" y="399"/>
                    </a:moveTo>
                    <a:lnTo>
                      <a:pt x="355" y="399"/>
                    </a:lnTo>
                    <a:lnTo>
                      <a:pt x="355" y="401"/>
                    </a:lnTo>
                    <a:lnTo>
                      <a:pt x="353" y="401"/>
                    </a:lnTo>
                    <a:lnTo>
                      <a:pt x="353" y="399"/>
                    </a:lnTo>
                    <a:close/>
                    <a:moveTo>
                      <a:pt x="61" y="99"/>
                    </a:moveTo>
                    <a:lnTo>
                      <a:pt x="59" y="99"/>
                    </a:lnTo>
                    <a:lnTo>
                      <a:pt x="58" y="97"/>
                    </a:lnTo>
                    <a:lnTo>
                      <a:pt x="56" y="97"/>
                    </a:lnTo>
                    <a:lnTo>
                      <a:pt x="54" y="97"/>
                    </a:lnTo>
                    <a:lnTo>
                      <a:pt x="51" y="97"/>
                    </a:lnTo>
                    <a:lnTo>
                      <a:pt x="49" y="94"/>
                    </a:lnTo>
                    <a:lnTo>
                      <a:pt x="46" y="90"/>
                    </a:lnTo>
                    <a:lnTo>
                      <a:pt x="43" y="90"/>
                    </a:lnTo>
                    <a:lnTo>
                      <a:pt x="41" y="90"/>
                    </a:lnTo>
                    <a:lnTo>
                      <a:pt x="40" y="90"/>
                    </a:lnTo>
                    <a:lnTo>
                      <a:pt x="31" y="90"/>
                    </a:lnTo>
                    <a:lnTo>
                      <a:pt x="28" y="90"/>
                    </a:lnTo>
                    <a:lnTo>
                      <a:pt x="22" y="87"/>
                    </a:lnTo>
                    <a:lnTo>
                      <a:pt x="18" y="85"/>
                    </a:lnTo>
                    <a:lnTo>
                      <a:pt x="17" y="97"/>
                    </a:lnTo>
                    <a:lnTo>
                      <a:pt x="25" y="103"/>
                    </a:lnTo>
                    <a:lnTo>
                      <a:pt x="30" y="105"/>
                    </a:lnTo>
                    <a:lnTo>
                      <a:pt x="31" y="108"/>
                    </a:lnTo>
                    <a:lnTo>
                      <a:pt x="35" y="107"/>
                    </a:lnTo>
                    <a:lnTo>
                      <a:pt x="41" y="107"/>
                    </a:lnTo>
                    <a:lnTo>
                      <a:pt x="45" y="120"/>
                    </a:lnTo>
                    <a:lnTo>
                      <a:pt x="43" y="120"/>
                    </a:lnTo>
                    <a:lnTo>
                      <a:pt x="40" y="122"/>
                    </a:lnTo>
                    <a:lnTo>
                      <a:pt x="31" y="123"/>
                    </a:lnTo>
                    <a:lnTo>
                      <a:pt x="30" y="127"/>
                    </a:lnTo>
                    <a:lnTo>
                      <a:pt x="28" y="127"/>
                    </a:lnTo>
                    <a:lnTo>
                      <a:pt x="30" y="128"/>
                    </a:lnTo>
                    <a:lnTo>
                      <a:pt x="31" y="133"/>
                    </a:lnTo>
                    <a:lnTo>
                      <a:pt x="28" y="141"/>
                    </a:lnTo>
                    <a:lnTo>
                      <a:pt x="30" y="146"/>
                    </a:lnTo>
                    <a:lnTo>
                      <a:pt x="28" y="148"/>
                    </a:lnTo>
                    <a:lnTo>
                      <a:pt x="28" y="150"/>
                    </a:lnTo>
                    <a:lnTo>
                      <a:pt x="26" y="150"/>
                    </a:lnTo>
                    <a:lnTo>
                      <a:pt x="26" y="151"/>
                    </a:lnTo>
                    <a:lnTo>
                      <a:pt x="23" y="153"/>
                    </a:lnTo>
                    <a:lnTo>
                      <a:pt x="20" y="161"/>
                    </a:lnTo>
                    <a:lnTo>
                      <a:pt x="23" y="168"/>
                    </a:lnTo>
                    <a:lnTo>
                      <a:pt x="22" y="171"/>
                    </a:lnTo>
                    <a:lnTo>
                      <a:pt x="26" y="171"/>
                    </a:lnTo>
                    <a:lnTo>
                      <a:pt x="31" y="169"/>
                    </a:lnTo>
                    <a:lnTo>
                      <a:pt x="38" y="169"/>
                    </a:lnTo>
                    <a:lnTo>
                      <a:pt x="40" y="176"/>
                    </a:lnTo>
                    <a:lnTo>
                      <a:pt x="41" y="177"/>
                    </a:lnTo>
                    <a:lnTo>
                      <a:pt x="43" y="179"/>
                    </a:lnTo>
                    <a:lnTo>
                      <a:pt x="45" y="182"/>
                    </a:lnTo>
                    <a:lnTo>
                      <a:pt x="46" y="186"/>
                    </a:lnTo>
                    <a:lnTo>
                      <a:pt x="46" y="187"/>
                    </a:lnTo>
                    <a:lnTo>
                      <a:pt x="43" y="204"/>
                    </a:lnTo>
                    <a:lnTo>
                      <a:pt x="43" y="205"/>
                    </a:lnTo>
                    <a:lnTo>
                      <a:pt x="46" y="207"/>
                    </a:lnTo>
                    <a:lnTo>
                      <a:pt x="49" y="205"/>
                    </a:lnTo>
                    <a:lnTo>
                      <a:pt x="54" y="200"/>
                    </a:lnTo>
                    <a:lnTo>
                      <a:pt x="56" y="202"/>
                    </a:lnTo>
                    <a:lnTo>
                      <a:pt x="61" y="202"/>
                    </a:lnTo>
                    <a:lnTo>
                      <a:pt x="63" y="204"/>
                    </a:lnTo>
                    <a:lnTo>
                      <a:pt x="64" y="202"/>
                    </a:lnTo>
                    <a:lnTo>
                      <a:pt x="66" y="205"/>
                    </a:lnTo>
                    <a:lnTo>
                      <a:pt x="69" y="204"/>
                    </a:lnTo>
                    <a:lnTo>
                      <a:pt x="72" y="214"/>
                    </a:lnTo>
                    <a:lnTo>
                      <a:pt x="77" y="210"/>
                    </a:lnTo>
                    <a:lnTo>
                      <a:pt x="77" y="205"/>
                    </a:lnTo>
                    <a:lnTo>
                      <a:pt x="74" y="197"/>
                    </a:lnTo>
                    <a:lnTo>
                      <a:pt x="74" y="191"/>
                    </a:lnTo>
                    <a:lnTo>
                      <a:pt x="76" y="187"/>
                    </a:lnTo>
                    <a:lnTo>
                      <a:pt x="79" y="187"/>
                    </a:lnTo>
                    <a:lnTo>
                      <a:pt x="82" y="182"/>
                    </a:lnTo>
                    <a:lnTo>
                      <a:pt x="82" y="181"/>
                    </a:lnTo>
                    <a:lnTo>
                      <a:pt x="82" y="179"/>
                    </a:lnTo>
                    <a:lnTo>
                      <a:pt x="81" y="177"/>
                    </a:lnTo>
                    <a:lnTo>
                      <a:pt x="79" y="177"/>
                    </a:lnTo>
                    <a:lnTo>
                      <a:pt x="74" y="171"/>
                    </a:lnTo>
                    <a:lnTo>
                      <a:pt x="74" y="168"/>
                    </a:lnTo>
                    <a:lnTo>
                      <a:pt x="76" y="164"/>
                    </a:lnTo>
                    <a:lnTo>
                      <a:pt x="74" y="164"/>
                    </a:lnTo>
                    <a:lnTo>
                      <a:pt x="79" y="163"/>
                    </a:lnTo>
                    <a:lnTo>
                      <a:pt x="92" y="161"/>
                    </a:lnTo>
                    <a:lnTo>
                      <a:pt x="92" y="159"/>
                    </a:lnTo>
                    <a:lnTo>
                      <a:pt x="87" y="158"/>
                    </a:lnTo>
                    <a:lnTo>
                      <a:pt x="87" y="156"/>
                    </a:lnTo>
                    <a:lnTo>
                      <a:pt x="91" y="156"/>
                    </a:lnTo>
                    <a:lnTo>
                      <a:pt x="89" y="153"/>
                    </a:lnTo>
                    <a:lnTo>
                      <a:pt x="89" y="150"/>
                    </a:lnTo>
                    <a:lnTo>
                      <a:pt x="89" y="145"/>
                    </a:lnTo>
                    <a:lnTo>
                      <a:pt x="89" y="143"/>
                    </a:lnTo>
                    <a:lnTo>
                      <a:pt x="91" y="138"/>
                    </a:lnTo>
                    <a:lnTo>
                      <a:pt x="87" y="131"/>
                    </a:lnTo>
                    <a:lnTo>
                      <a:pt x="89" y="130"/>
                    </a:lnTo>
                    <a:lnTo>
                      <a:pt x="92" y="127"/>
                    </a:lnTo>
                    <a:lnTo>
                      <a:pt x="91" y="125"/>
                    </a:lnTo>
                    <a:lnTo>
                      <a:pt x="92" y="118"/>
                    </a:lnTo>
                    <a:lnTo>
                      <a:pt x="95" y="112"/>
                    </a:lnTo>
                    <a:lnTo>
                      <a:pt x="92" y="108"/>
                    </a:lnTo>
                    <a:lnTo>
                      <a:pt x="92" y="105"/>
                    </a:lnTo>
                    <a:lnTo>
                      <a:pt x="91" y="99"/>
                    </a:lnTo>
                    <a:lnTo>
                      <a:pt x="100" y="95"/>
                    </a:lnTo>
                    <a:lnTo>
                      <a:pt x="102" y="95"/>
                    </a:lnTo>
                    <a:lnTo>
                      <a:pt x="107" y="92"/>
                    </a:lnTo>
                    <a:lnTo>
                      <a:pt x="109" y="92"/>
                    </a:lnTo>
                    <a:lnTo>
                      <a:pt x="114" y="90"/>
                    </a:lnTo>
                    <a:lnTo>
                      <a:pt x="115" y="85"/>
                    </a:lnTo>
                    <a:lnTo>
                      <a:pt x="112" y="80"/>
                    </a:lnTo>
                    <a:lnTo>
                      <a:pt x="112" y="74"/>
                    </a:lnTo>
                    <a:lnTo>
                      <a:pt x="114" y="72"/>
                    </a:lnTo>
                    <a:lnTo>
                      <a:pt x="112" y="71"/>
                    </a:lnTo>
                    <a:lnTo>
                      <a:pt x="109" y="72"/>
                    </a:lnTo>
                    <a:lnTo>
                      <a:pt x="107" y="71"/>
                    </a:lnTo>
                    <a:lnTo>
                      <a:pt x="102" y="72"/>
                    </a:lnTo>
                    <a:lnTo>
                      <a:pt x="97" y="76"/>
                    </a:lnTo>
                    <a:lnTo>
                      <a:pt x="94" y="77"/>
                    </a:lnTo>
                    <a:lnTo>
                      <a:pt x="92" y="77"/>
                    </a:lnTo>
                    <a:lnTo>
                      <a:pt x="84" y="80"/>
                    </a:lnTo>
                    <a:lnTo>
                      <a:pt x="79" y="84"/>
                    </a:lnTo>
                    <a:lnTo>
                      <a:pt x="76" y="89"/>
                    </a:lnTo>
                    <a:lnTo>
                      <a:pt x="74" y="90"/>
                    </a:lnTo>
                    <a:lnTo>
                      <a:pt x="71" y="95"/>
                    </a:lnTo>
                    <a:lnTo>
                      <a:pt x="71" y="97"/>
                    </a:lnTo>
                    <a:lnTo>
                      <a:pt x="69" y="97"/>
                    </a:lnTo>
                    <a:lnTo>
                      <a:pt x="64" y="102"/>
                    </a:lnTo>
                    <a:lnTo>
                      <a:pt x="61" y="99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 22">
                <a:extLst>
                  <a:ext uri="{FF2B5EF4-FFF2-40B4-BE49-F238E27FC236}">
                    <a16:creationId xmlns:a16="http://schemas.microsoft.com/office/drawing/2014/main" id="{1FF79CD3-86BC-4A5B-90A6-61E9EA4E5C5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403600" y="4268788"/>
                <a:ext cx="1565275" cy="1479550"/>
              </a:xfrm>
              <a:custGeom>
                <a:avLst/>
                <a:gdLst>
                  <a:gd name="T0" fmla="*/ 867 w 986"/>
                  <a:gd name="T1" fmla="*/ 363 h 932"/>
                  <a:gd name="T2" fmla="*/ 856 w 986"/>
                  <a:gd name="T3" fmla="*/ 279 h 932"/>
                  <a:gd name="T4" fmla="*/ 798 w 986"/>
                  <a:gd name="T5" fmla="*/ 210 h 932"/>
                  <a:gd name="T6" fmla="*/ 843 w 986"/>
                  <a:gd name="T7" fmla="*/ 195 h 932"/>
                  <a:gd name="T8" fmla="*/ 759 w 986"/>
                  <a:gd name="T9" fmla="*/ 125 h 932"/>
                  <a:gd name="T10" fmla="*/ 711 w 986"/>
                  <a:gd name="T11" fmla="*/ 60 h 932"/>
                  <a:gd name="T12" fmla="*/ 641 w 986"/>
                  <a:gd name="T13" fmla="*/ 98 h 932"/>
                  <a:gd name="T14" fmla="*/ 582 w 986"/>
                  <a:gd name="T15" fmla="*/ 59 h 932"/>
                  <a:gd name="T16" fmla="*/ 559 w 986"/>
                  <a:gd name="T17" fmla="*/ 29 h 932"/>
                  <a:gd name="T18" fmla="*/ 478 w 986"/>
                  <a:gd name="T19" fmla="*/ 110 h 932"/>
                  <a:gd name="T20" fmla="*/ 450 w 986"/>
                  <a:gd name="T21" fmla="*/ 200 h 932"/>
                  <a:gd name="T22" fmla="*/ 472 w 986"/>
                  <a:gd name="T23" fmla="*/ 305 h 932"/>
                  <a:gd name="T24" fmla="*/ 501 w 986"/>
                  <a:gd name="T25" fmla="*/ 421 h 932"/>
                  <a:gd name="T26" fmla="*/ 504 w 986"/>
                  <a:gd name="T27" fmla="*/ 488 h 932"/>
                  <a:gd name="T28" fmla="*/ 457 w 986"/>
                  <a:gd name="T29" fmla="*/ 585 h 932"/>
                  <a:gd name="T30" fmla="*/ 470 w 986"/>
                  <a:gd name="T31" fmla="*/ 685 h 932"/>
                  <a:gd name="T32" fmla="*/ 340 w 986"/>
                  <a:gd name="T33" fmla="*/ 674 h 932"/>
                  <a:gd name="T34" fmla="*/ 219 w 986"/>
                  <a:gd name="T35" fmla="*/ 629 h 932"/>
                  <a:gd name="T36" fmla="*/ 150 w 986"/>
                  <a:gd name="T37" fmla="*/ 664 h 932"/>
                  <a:gd name="T38" fmla="*/ 122 w 986"/>
                  <a:gd name="T39" fmla="*/ 720 h 932"/>
                  <a:gd name="T40" fmla="*/ 26 w 986"/>
                  <a:gd name="T41" fmla="*/ 744 h 932"/>
                  <a:gd name="T42" fmla="*/ 23 w 986"/>
                  <a:gd name="T43" fmla="*/ 810 h 932"/>
                  <a:gd name="T44" fmla="*/ 173 w 986"/>
                  <a:gd name="T45" fmla="*/ 896 h 932"/>
                  <a:gd name="T46" fmla="*/ 186 w 986"/>
                  <a:gd name="T47" fmla="*/ 886 h 932"/>
                  <a:gd name="T48" fmla="*/ 301 w 986"/>
                  <a:gd name="T49" fmla="*/ 884 h 932"/>
                  <a:gd name="T50" fmla="*/ 347 w 986"/>
                  <a:gd name="T51" fmla="*/ 846 h 932"/>
                  <a:gd name="T52" fmla="*/ 325 w 986"/>
                  <a:gd name="T53" fmla="*/ 840 h 932"/>
                  <a:gd name="T54" fmla="*/ 317 w 986"/>
                  <a:gd name="T55" fmla="*/ 825 h 932"/>
                  <a:gd name="T56" fmla="*/ 334 w 986"/>
                  <a:gd name="T57" fmla="*/ 814 h 932"/>
                  <a:gd name="T58" fmla="*/ 361 w 986"/>
                  <a:gd name="T59" fmla="*/ 832 h 932"/>
                  <a:gd name="T60" fmla="*/ 411 w 986"/>
                  <a:gd name="T61" fmla="*/ 809 h 932"/>
                  <a:gd name="T62" fmla="*/ 495 w 986"/>
                  <a:gd name="T63" fmla="*/ 823 h 932"/>
                  <a:gd name="T64" fmla="*/ 541 w 986"/>
                  <a:gd name="T65" fmla="*/ 791 h 932"/>
                  <a:gd name="T66" fmla="*/ 573 w 986"/>
                  <a:gd name="T67" fmla="*/ 771 h 932"/>
                  <a:gd name="T68" fmla="*/ 557 w 986"/>
                  <a:gd name="T69" fmla="*/ 741 h 932"/>
                  <a:gd name="T70" fmla="*/ 526 w 986"/>
                  <a:gd name="T71" fmla="*/ 712 h 932"/>
                  <a:gd name="T72" fmla="*/ 557 w 986"/>
                  <a:gd name="T73" fmla="*/ 712 h 932"/>
                  <a:gd name="T74" fmla="*/ 595 w 986"/>
                  <a:gd name="T75" fmla="*/ 712 h 932"/>
                  <a:gd name="T76" fmla="*/ 646 w 986"/>
                  <a:gd name="T77" fmla="*/ 781 h 932"/>
                  <a:gd name="T78" fmla="*/ 629 w 986"/>
                  <a:gd name="T79" fmla="*/ 751 h 932"/>
                  <a:gd name="T80" fmla="*/ 659 w 986"/>
                  <a:gd name="T81" fmla="*/ 758 h 932"/>
                  <a:gd name="T82" fmla="*/ 674 w 986"/>
                  <a:gd name="T83" fmla="*/ 764 h 932"/>
                  <a:gd name="T84" fmla="*/ 711 w 986"/>
                  <a:gd name="T85" fmla="*/ 748 h 932"/>
                  <a:gd name="T86" fmla="*/ 746 w 986"/>
                  <a:gd name="T87" fmla="*/ 623 h 932"/>
                  <a:gd name="T88" fmla="*/ 825 w 986"/>
                  <a:gd name="T89" fmla="*/ 634 h 932"/>
                  <a:gd name="T90" fmla="*/ 904 w 986"/>
                  <a:gd name="T91" fmla="*/ 597 h 932"/>
                  <a:gd name="T92" fmla="*/ 953 w 986"/>
                  <a:gd name="T93" fmla="*/ 555 h 932"/>
                  <a:gd name="T94" fmla="*/ 969 w 986"/>
                  <a:gd name="T95" fmla="*/ 514 h 932"/>
                  <a:gd name="T96" fmla="*/ 959 w 986"/>
                  <a:gd name="T97" fmla="*/ 472 h 932"/>
                  <a:gd name="T98" fmla="*/ 932 w 986"/>
                  <a:gd name="T99" fmla="*/ 450 h 932"/>
                  <a:gd name="T100" fmla="*/ 746 w 986"/>
                  <a:gd name="T101" fmla="*/ 577 h 932"/>
                  <a:gd name="T102" fmla="*/ 734 w 986"/>
                  <a:gd name="T103" fmla="*/ 481 h 932"/>
                  <a:gd name="T104" fmla="*/ 805 w 986"/>
                  <a:gd name="T105" fmla="*/ 445 h 932"/>
                  <a:gd name="T106" fmla="*/ 795 w 986"/>
                  <a:gd name="T107" fmla="*/ 532 h 932"/>
                  <a:gd name="T108" fmla="*/ 703 w 986"/>
                  <a:gd name="T109" fmla="*/ 779 h 932"/>
                  <a:gd name="T110" fmla="*/ 693 w 986"/>
                  <a:gd name="T111" fmla="*/ 761 h 932"/>
                  <a:gd name="T112" fmla="*/ 654 w 986"/>
                  <a:gd name="T113" fmla="*/ 761 h 932"/>
                  <a:gd name="T114" fmla="*/ 652 w 986"/>
                  <a:gd name="T115" fmla="*/ 828 h 932"/>
                  <a:gd name="T116" fmla="*/ 587 w 986"/>
                  <a:gd name="T117" fmla="*/ 827 h 932"/>
                  <a:gd name="T118" fmla="*/ 547 w 986"/>
                  <a:gd name="T119" fmla="*/ 817 h 932"/>
                  <a:gd name="T120" fmla="*/ 526 w 986"/>
                  <a:gd name="T121" fmla="*/ 820 h 932"/>
                  <a:gd name="T122" fmla="*/ 501 w 986"/>
                  <a:gd name="T123" fmla="*/ 846 h 932"/>
                  <a:gd name="T124" fmla="*/ 311 w 986"/>
                  <a:gd name="T125" fmla="*/ 832 h 9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86" h="932">
                    <a:moveTo>
                      <a:pt x="902" y="429"/>
                    </a:moveTo>
                    <a:lnTo>
                      <a:pt x="904" y="429"/>
                    </a:lnTo>
                    <a:lnTo>
                      <a:pt x="904" y="426"/>
                    </a:lnTo>
                    <a:lnTo>
                      <a:pt x="902" y="424"/>
                    </a:lnTo>
                    <a:lnTo>
                      <a:pt x="897" y="424"/>
                    </a:lnTo>
                    <a:lnTo>
                      <a:pt x="894" y="419"/>
                    </a:lnTo>
                    <a:lnTo>
                      <a:pt x="892" y="419"/>
                    </a:lnTo>
                    <a:lnTo>
                      <a:pt x="889" y="419"/>
                    </a:lnTo>
                    <a:lnTo>
                      <a:pt x="889" y="421"/>
                    </a:lnTo>
                    <a:lnTo>
                      <a:pt x="886" y="419"/>
                    </a:lnTo>
                    <a:lnTo>
                      <a:pt x="886" y="417"/>
                    </a:lnTo>
                    <a:lnTo>
                      <a:pt x="882" y="417"/>
                    </a:lnTo>
                    <a:lnTo>
                      <a:pt x="882" y="416"/>
                    </a:lnTo>
                    <a:lnTo>
                      <a:pt x="882" y="414"/>
                    </a:lnTo>
                    <a:lnTo>
                      <a:pt x="879" y="416"/>
                    </a:lnTo>
                    <a:lnTo>
                      <a:pt x="877" y="407"/>
                    </a:lnTo>
                    <a:lnTo>
                      <a:pt x="879" y="404"/>
                    </a:lnTo>
                    <a:lnTo>
                      <a:pt x="876" y="404"/>
                    </a:lnTo>
                    <a:lnTo>
                      <a:pt x="872" y="404"/>
                    </a:lnTo>
                    <a:lnTo>
                      <a:pt x="872" y="402"/>
                    </a:lnTo>
                    <a:lnTo>
                      <a:pt x="867" y="402"/>
                    </a:lnTo>
                    <a:lnTo>
                      <a:pt x="864" y="399"/>
                    </a:lnTo>
                    <a:lnTo>
                      <a:pt x="861" y="398"/>
                    </a:lnTo>
                    <a:lnTo>
                      <a:pt x="864" y="386"/>
                    </a:lnTo>
                    <a:lnTo>
                      <a:pt x="867" y="383"/>
                    </a:lnTo>
                    <a:lnTo>
                      <a:pt x="869" y="376"/>
                    </a:lnTo>
                    <a:lnTo>
                      <a:pt x="869" y="375"/>
                    </a:lnTo>
                    <a:lnTo>
                      <a:pt x="866" y="371"/>
                    </a:lnTo>
                    <a:lnTo>
                      <a:pt x="867" y="370"/>
                    </a:lnTo>
                    <a:lnTo>
                      <a:pt x="867" y="363"/>
                    </a:lnTo>
                    <a:lnTo>
                      <a:pt x="867" y="361"/>
                    </a:lnTo>
                    <a:lnTo>
                      <a:pt x="866" y="356"/>
                    </a:lnTo>
                    <a:lnTo>
                      <a:pt x="867" y="355"/>
                    </a:lnTo>
                    <a:lnTo>
                      <a:pt x="869" y="352"/>
                    </a:lnTo>
                    <a:lnTo>
                      <a:pt x="872" y="350"/>
                    </a:lnTo>
                    <a:lnTo>
                      <a:pt x="872" y="347"/>
                    </a:lnTo>
                    <a:lnTo>
                      <a:pt x="871" y="345"/>
                    </a:lnTo>
                    <a:lnTo>
                      <a:pt x="869" y="338"/>
                    </a:lnTo>
                    <a:lnTo>
                      <a:pt x="867" y="337"/>
                    </a:lnTo>
                    <a:lnTo>
                      <a:pt x="866" y="333"/>
                    </a:lnTo>
                    <a:lnTo>
                      <a:pt x="864" y="329"/>
                    </a:lnTo>
                    <a:lnTo>
                      <a:pt x="864" y="324"/>
                    </a:lnTo>
                    <a:lnTo>
                      <a:pt x="858" y="324"/>
                    </a:lnTo>
                    <a:lnTo>
                      <a:pt x="856" y="320"/>
                    </a:lnTo>
                    <a:lnTo>
                      <a:pt x="854" y="315"/>
                    </a:lnTo>
                    <a:lnTo>
                      <a:pt x="851" y="307"/>
                    </a:lnTo>
                    <a:lnTo>
                      <a:pt x="853" y="302"/>
                    </a:lnTo>
                    <a:lnTo>
                      <a:pt x="849" y="302"/>
                    </a:lnTo>
                    <a:lnTo>
                      <a:pt x="851" y="299"/>
                    </a:lnTo>
                    <a:lnTo>
                      <a:pt x="853" y="297"/>
                    </a:lnTo>
                    <a:lnTo>
                      <a:pt x="853" y="296"/>
                    </a:lnTo>
                    <a:lnTo>
                      <a:pt x="851" y="294"/>
                    </a:lnTo>
                    <a:lnTo>
                      <a:pt x="851" y="289"/>
                    </a:lnTo>
                    <a:lnTo>
                      <a:pt x="853" y="287"/>
                    </a:lnTo>
                    <a:lnTo>
                      <a:pt x="856" y="291"/>
                    </a:lnTo>
                    <a:lnTo>
                      <a:pt x="856" y="286"/>
                    </a:lnTo>
                    <a:lnTo>
                      <a:pt x="859" y="287"/>
                    </a:lnTo>
                    <a:lnTo>
                      <a:pt x="863" y="282"/>
                    </a:lnTo>
                    <a:lnTo>
                      <a:pt x="859" y="279"/>
                    </a:lnTo>
                    <a:lnTo>
                      <a:pt x="856" y="279"/>
                    </a:lnTo>
                    <a:lnTo>
                      <a:pt x="856" y="278"/>
                    </a:lnTo>
                    <a:lnTo>
                      <a:pt x="851" y="279"/>
                    </a:lnTo>
                    <a:lnTo>
                      <a:pt x="846" y="278"/>
                    </a:lnTo>
                    <a:lnTo>
                      <a:pt x="848" y="269"/>
                    </a:lnTo>
                    <a:lnTo>
                      <a:pt x="848" y="266"/>
                    </a:lnTo>
                    <a:lnTo>
                      <a:pt x="841" y="261"/>
                    </a:lnTo>
                    <a:lnTo>
                      <a:pt x="843" y="256"/>
                    </a:lnTo>
                    <a:lnTo>
                      <a:pt x="846" y="255"/>
                    </a:lnTo>
                    <a:lnTo>
                      <a:pt x="844" y="251"/>
                    </a:lnTo>
                    <a:lnTo>
                      <a:pt x="846" y="250"/>
                    </a:lnTo>
                    <a:lnTo>
                      <a:pt x="844" y="248"/>
                    </a:lnTo>
                    <a:lnTo>
                      <a:pt x="843" y="248"/>
                    </a:lnTo>
                    <a:lnTo>
                      <a:pt x="843" y="246"/>
                    </a:lnTo>
                    <a:lnTo>
                      <a:pt x="841" y="246"/>
                    </a:lnTo>
                    <a:lnTo>
                      <a:pt x="841" y="245"/>
                    </a:lnTo>
                    <a:lnTo>
                      <a:pt x="838" y="246"/>
                    </a:lnTo>
                    <a:lnTo>
                      <a:pt x="835" y="241"/>
                    </a:lnTo>
                    <a:lnTo>
                      <a:pt x="833" y="238"/>
                    </a:lnTo>
                    <a:lnTo>
                      <a:pt x="825" y="240"/>
                    </a:lnTo>
                    <a:lnTo>
                      <a:pt x="825" y="238"/>
                    </a:lnTo>
                    <a:lnTo>
                      <a:pt x="823" y="238"/>
                    </a:lnTo>
                    <a:lnTo>
                      <a:pt x="818" y="236"/>
                    </a:lnTo>
                    <a:lnTo>
                      <a:pt x="813" y="236"/>
                    </a:lnTo>
                    <a:lnTo>
                      <a:pt x="803" y="228"/>
                    </a:lnTo>
                    <a:lnTo>
                      <a:pt x="802" y="227"/>
                    </a:lnTo>
                    <a:lnTo>
                      <a:pt x="802" y="223"/>
                    </a:lnTo>
                    <a:lnTo>
                      <a:pt x="800" y="217"/>
                    </a:lnTo>
                    <a:lnTo>
                      <a:pt x="797" y="215"/>
                    </a:lnTo>
                    <a:lnTo>
                      <a:pt x="800" y="213"/>
                    </a:lnTo>
                    <a:lnTo>
                      <a:pt x="798" y="210"/>
                    </a:lnTo>
                    <a:lnTo>
                      <a:pt x="792" y="200"/>
                    </a:lnTo>
                    <a:lnTo>
                      <a:pt x="790" y="199"/>
                    </a:lnTo>
                    <a:lnTo>
                      <a:pt x="787" y="200"/>
                    </a:lnTo>
                    <a:lnTo>
                      <a:pt x="780" y="192"/>
                    </a:lnTo>
                    <a:lnTo>
                      <a:pt x="780" y="190"/>
                    </a:lnTo>
                    <a:lnTo>
                      <a:pt x="777" y="187"/>
                    </a:lnTo>
                    <a:lnTo>
                      <a:pt x="780" y="185"/>
                    </a:lnTo>
                    <a:lnTo>
                      <a:pt x="782" y="182"/>
                    </a:lnTo>
                    <a:lnTo>
                      <a:pt x="785" y="182"/>
                    </a:lnTo>
                    <a:lnTo>
                      <a:pt x="787" y="177"/>
                    </a:lnTo>
                    <a:lnTo>
                      <a:pt x="790" y="177"/>
                    </a:lnTo>
                    <a:lnTo>
                      <a:pt x="792" y="179"/>
                    </a:lnTo>
                    <a:lnTo>
                      <a:pt x="795" y="177"/>
                    </a:lnTo>
                    <a:lnTo>
                      <a:pt x="798" y="182"/>
                    </a:lnTo>
                    <a:lnTo>
                      <a:pt x="795" y="187"/>
                    </a:lnTo>
                    <a:lnTo>
                      <a:pt x="797" y="187"/>
                    </a:lnTo>
                    <a:lnTo>
                      <a:pt x="803" y="199"/>
                    </a:lnTo>
                    <a:lnTo>
                      <a:pt x="805" y="202"/>
                    </a:lnTo>
                    <a:lnTo>
                      <a:pt x="808" y="202"/>
                    </a:lnTo>
                    <a:lnTo>
                      <a:pt x="812" y="202"/>
                    </a:lnTo>
                    <a:lnTo>
                      <a:pt x="817" y="200"/>
                    </a:lnTo>
                    <a:lnTo>
                      <a:pt x="817" y="199"/>
                    </a:lnTo>
                    <a:lnTo>
                      <a:pt x="825" y="204"/>
                    </a:lnTo>
                    <a:lnTo>
                      <a:pt x="831" y="202"/>
                    </a:lnTo>
                    <a:lnTo>
                      <a:pt x="831" y="205"/>
                    </a:lnTo>
                    <a:lnTo>
                      <a:pt x="835" y="207"/>
                    </a:lnTo>
                    <a:lnTo>
                      <a:pt x="836" y="204"/>
                    </a:lnTo>
                    <a:lnTo>
                      <a:pt x="838" y="199"/>
                    </a:lnTo>
                    <a:lnTo>
                      <a:pt x="840" y="199"/>
                    </a:lnTo>
                    <a:lnTo>
                      <a:pt x="843" y="195"/>
                    </a:lnTo>
                    <a:lnTo>
                      <a:pt x="843" y="197"/>
                    </a:lnTo>
                    <a:lnTo>
                      <a:pt x="843" y="194"/>
                    </a:lnTo>
                    <a:lnTo>
                      <a:pt x="844" y="192"/>
                    </a:lnTo>
                    <a:lnTo>
                      <a:pt x="844" y="195"/>
                    </a:lnTo>
                    <a:lnTo>
                      <a:pt x="846" y="194"/>
                    </a:lnTo>
                    <a:lnTo>
                      <a:pt x="849" y="197"/>
                    </a:lnTo>
                    <a:lnTo>
                      <a:pt x="851" y="192"/>
                    </a:lnTo>
                    <a:lnTo>
                      <a:pt x="841" y="184"/>
                    </a:lnTo>
                    <a:lnTo>
                      <a:pt x="841" y="182"/>
                    </a:lnTo>
                    <a:lnTo>
                      <a:pt x="841" y="181"/>
                    </a:lnTo>
                    <a:lnTo>
                      <a:pt x="840" y="181"/>
                    </a:lnTo>
                    <a:lnTo>
                      <a:pt x="840" y="177"/>
                    </a:lnTo>
                    <a:lnTo>
                      <a:pt x="835" y="172"/>
                    </a:lnTo>
                    <a:lnTo>
                      <a:pt x="833" y="169"/>
                    </a:lnTo>
                    <a:lnTo>
                      <a:pt x="826" y="167"/>
                    </a:lnTo>
                    <a:lnTo>
                      <a:pt x="821" y="162"/>
                    </a:lnTo>
                    <a:lnTo>
                      <a:pt x="818" y="164"/>
                    </a:lnTo>
                    <a:lnTo>
                      <a:pt x="815" y="164"/>
                    </a:lnTo>
                    <a:lnTo>
                      <a:pt x="810" y="161"/>
                    </a:lnTo>
                    <a:lnTo>
                      <a:pt x="808" y="156"/>
                    </a:lnTo>
                    <a:lnTo>
                      <a:pt x="803" y="153"/>
                    </a:lnTo>
                    <a:lnTo>
                      <a:pt x="797" y="153"/>
                    </a:lnTo>
                    <a:lnTo>
                      <a:pt x="795" y="151"/>
                    </a:lnTo>
                    <a:lnTo>
                      <a:pt x="794" y="148"/>
                    </a:lnTo>
                    <a:lnTo>
                      <a:pt x="782" y="141"/>
                    </a:lnTo>
                    <a:lnTo>
                      <a:pt x="774" y="131"/>
                    </a:lnTo>
                    <a:lnTo>
                      <a:pt x="775" y="130"/>
                    </a:lnTo>
                    <a:lnTo>
                      <a:pt x="772" y="128"/>
                    </a:lnTo>
                    <a:lnTo>
                      <a:pt x="764" y="130"/>
                    </a:lnTo>
                    <a:lnTo>
                      <a:pt x="759" y="125"/>
                    </a:lnTo>
                    <a:lnTo>
                      <a:pt x="759" y="128"/>
                    </a:lnTo>
                    <a:lnTo>
                      <a:pt x="757" y="130"/>
                    </a:lnTo>
                    <a:lnTo>
                      <a:pt x="761" y="136"/>
                    </a:lnTo>
                    <a:lnTo>
                      <a:pt x="759" y="136"/>
                    </a:lnTo>
                    <a:lnTo>
                      <a:pt x="754" y="136"/>
                    </a:lnTo>
                    <a:lnTo>
                      <a:pt x="751" y="130"/>
                    </a:lnTo>
                    <a:lnTo>
                      <a:pt x="748" y="126"/>
                    </a:lnTo>
                    <a:lnTo>
                      <a:pt x="748" y="121"/>
                    </a:lnTo>
                    <a:lnTo>
                      <a:pt x="746" y="121"/>
                    </a:lnTo>
                    <a:lnTo>
                      <a:pt x="752" y="115"/>
                    </a:lnTo>
                    <a:lnTo>
                      <a:pt x="751" y="111"/>
                    </a:lnTo>
                    <a:lnTo>
                      <a:pt x="757" y="105"/>
                    </a:lnTo>
                    <a:lnTo>
                      <a:pt x="756" y="100"/>
                    </a:lnTo>
                    <a:lnTo>
                      <a:pt x="756" y="95"/>
                    </a:lnTo>
                    <a:lnTo>
                      <a:pt x="754" y="93"/>
                    </a:lnTo>
                    <a:lnTo>
                      <a:pt x="752" y="93"/>
                    </a:lnTo>
                    <a:lnTo>
                      <a:pt x="752" y="92"/>
                    </a:lnTo>
                    <a:lnTo>
                      <a:pt x="752" y="90"/>
                    </a:lnTo>
                    <a:lnTo>
                      <a:pt x="746" y="85"/>
                    </a:lnTo>
                    <a:lnTo>
                      <a:pt x="743" y="84"/>
                    </a:lnTo>
                    <a:lnTo>
                      <a:pt x="734" y="74"/>
                    </a:lnTo>
                    <a:lnTo>
                      <a:pt x="731" y="80"/>
                    </a:lnTo>
                    <a:lnTo>
                      <a:pt x="729" y="80"/>
                    </a:lnTo>
                    <a:lnTo>
                      <a:pt x="728" y="79"/>
                    </a:lnTo>
                    <a:lnTo>
                      <a:pt x="726" y="80"/>
                    </a:lnTo>
                    <a:lnTo>
                      <a:pt x="721" y="85"/>
                    </a:lnTo>
                    <a:lnTo>
                      <a:pt x="718" y="80"/>
                    </a:lnTo>
                    <a:lnTo>
                      <a:pt x="713" y="72"/>
                    </a:lnTo>
                    <a:lnTo>
                      <a:pt x="710" y="62"/>
                    </a:lnTo>
                    <a:lnTo>
                      <a:pt x="711" y="60"/>
                    </a:lnTo>
                    <a:lnTo>
                      <a:pt x="710" y="60"/>
                    </a:lnTo>
                    <a:lnTo>
                      <a:pt x="710" y="57"/>
                    </a:lnTo>
                    <a:lnTo>
                      <a:pt x="708" y="57"/>
                    </a:lnTo>
                    <a:lnTo>
                      <a:pt x="710" y="54"/>
                    </a:lnTo>
                    <a:lnTo>
                      <a:pt x="705" y="51"/>
                    </a:lnTo>
                    <a:lnTo>
                      <a:pt x="702" y="52"/>
                    </a:lnTo>
                    <a:lnTo>
                      <a:pt x="700" y="56"/>
                    </a:lnTo>
                    <a:lnTo>
                      <a:pt x="698" y="56"/>
                    </a:lnTo>
                    <a:lnTo>
                      <a:pt x="692" y="56"/>
                    </a:lnTo>
                    <a:lnTo>
                      <a:pt x="690" y="54"/>
                    </a:lnTo>
                    <a:lnTo>
                      <a:pt x="685" y="56"/>
                    </a:lnTo>
                    <a:lnTo>
                      <a:pt x="679" y="54"/>
                    </a:lnTo>
                    <a:lnTo>
                      <a:pt x="674" y="54"/>
                    </a:lnTo>
                    <a:lnTo>
                      <a:pt x="679" y="57"/>
                    </a:lnTo>
                    <a:lnTo>
                      <a:pt x="679" y="60"/>
                    </a:lnTo>
                    <a:lnTo>
                      <a:pt x="677" y="60"/>
                    </a:lnTo>
                    <a:lnTo>
                      <a:pt x="674" y="59"/>
                    </a:lnTo>
                    <a:lnTo>
                      <a:pt x="670" y="62"/>
                    </a:lnTo>
                    <a:lnTo>
                      <a:pt x="667" y="60"/>
                    </a:lnTo>
                    <a:lnTo>
                      <a:pt x="665" y="62"/>
                    </a:lnTo>
                    <a:lnTo>
                      <a:pt x="660" y="64"/>
                    </a:lnTo>
                    <a:lnTo>
                      <a:pt x="659" y="67"/>
                    </a:lnTo>
                    <a:lnTo>
                      <a:pt x="646" y="70"/>
                    </a:lnTo>
                    <a:lnTo>
                      <a:pt x="642" y="77"/>
                    </a:lnTo>
                    <a:lnTo>
                      <a:pt x="642" y="79"/>
                    </a:lnTo>
                    <a:lnTo>
                      <a:pt x="642" y="80"/>
                    </a:lnTo>
                    <a:lnTo>
                      <a:pt x="641" y="85"/>
                    </a:lnTo>
                    <a:lnTo>
                      <a:pt x="647" y="88"/>
                    </a:lnTo>
                    <a:lnTo>
                      <a:pt x="642" y="93"/>
                    </a:lnTo>
                    <a:lnTo>
                      <a:pt x="641" y="98"/>
                    </a:lnTo>
                    <a:lnTo>
                      <a:pt x="637" y="98"/>
                    </a:lnTo>
                    <a:lnTo>
                      <a:pt x="636" y="100"/>
                    </a:lnTo>
                    <a:lnTo>
                      <a:pt x="631" y="100"/>
                    </a:lnTo>
                    <a:lnTo>
                      <a:pt x="626" y="107"/>
                    </a:lnTo>
                    <a:lnTo>
                      <a:pt x="621" y="108"/>
                    </a:lnTo>
                    <a:lnTo>
                      <a:pt x="619" y="110"/>
                    </a:lnTo>
                    <a:lnTo>
                      <a:pt x="618" y="110"/>
                    </a:lnTo>
                    <a:lnTo>
                      <a:pt x="610" y="107"/>
                    </a:lnTo>
                    <a:lnTo>
                      <a:pt x="603" y="105"/>
                    </a:lnTo>
                    <a:lnTo>
                      <a:pt x="598" y="107"/>
                    </a:lnTo>
                    <a:lnTo>
                      <a:pt x="596" y="107"/>
                    </a:lnTo>
                    <a:lnTo>
                      <a:pt x="590" y="107"/>
                    </a:lnTo>
                    <a:lnTo>
                      <a:pt x="590" y="108"/>
                    </a:lnTo>
                    <a:lnTo>
                      <a:pt x="590" y="107"/>
                    </a:lnTo>
                    <a:lnTo>
                      <a:pt x="587" y="102"/>
                    </a:lnTo>
                    <a:lnTo>
                      <a:pt x="590" y="102"/>
                    </a:lnTo>
                    <a:lnTo>
                      <a:pt x="588" y="97"/>
                    </a:lnTo>
                    <a:lnTo>
                      <a:pt x="590" y="93"/>
                    </a:lnTo>
                    <a:lnTo>
                      <a:pt x="591" y="92"/>
                    </a:lnTo>
                    <a:lnTo>
                      <a:pt x="588" y="90"/>
                    </a:lnTo>
                    <a:lnTo>
                      <a:pt x="591" y="90"/>
                    </a:lnTo>
                    <a:lnTo>
                      <a:pt x="591" y="88"/>
                    </a:lnTo>
                    <a:lnTo>
                      <a:pt x="588" y="85"/>
                    </a:lnTo>
                    <a:lnTo>
                      <a:pt x="588" y="84"/>
                    </a:lnTo>
                    <a:lnTo>
                      <a:pt x="588" y="82"/>
                    </a:lnTo>
                    <a:lnTo>
                      <a:pt x="585" y="80"/>
                    </a:lnTo>
                    <a:lnTo>
                      <a:pt x="587" y="79"/>
                    </a:lnTo>
                    <a:lnTo>
                      <a:pt x="585" y="74"/>
                    </a:lnTo>
                    <a:lnTo>
                      <a:pt x="578" y="67"/>
                    </a:lnTo>
                    <a:lnTo>
                      <a:pt x="582" y="59"/>
                    </a:lnTo>
                    <a:lnTo>
                      <a:pt x="583" y="59"/>
                    </a:lnTo>
                    <a:lnTo>
                      <a:pt x="583" y="57"/>
                    </a:lnTo>
                    <a:lnTo>
                      <a:pt x="580" y="56"/>
                    </a:lnTo>
                    <a:lnTo>
                      <a:pt x="583" y="54"/>
                    </a:lnTo>
                    <a:lnTo>
                      <a:pt x="583" y="51"/>
                    </a:lnTo>
                    <a:lnTo>
                      <a:pt x="577" y="51"/>
                    </a:lnTo>
                    <a:lnTo>
                      <a:pt x="577" y="49"/>
                    </a:lnTo>
                    <a:lnTo>
                      <a:pt x="577" y="46"/>
                    </a:lnTo>
                    <a:lnTo>
                      <a:pt x="588" y="42"/>
                    </a:lnTo>
                    <a:lnTo>
                      <a:pt x="590" y="42"/>
                    </a:lnTo>
                    <a:lnTo>
                      <a:pt x="593" y="41"/>
                    </a:lnTo>
                    <a:lnTo>
                      <a:pt x="601" y="42"/>
                    </a:lnTo>
                    <a:lnTo>
                      <a:pt x="601" y="39"/>
                    </a:lnTo>
                    <a:lnTo>
                      <a:pt x="590" y="26"/>
                    </a:lnTo>
                    <a:lnTo>
                      <a:pt x="588" y="24"/>
                    </a:lnTo>
                    <a:lnTo>
                      <a:pt x="585" y="21"/>
                    </a:lnTo>
                    <a:lnTo>
                      <a:pt x="575" y="5"/>
                    </a:lnTo>
                    <a:lnTo>
                      <a:pt x="572" y="0"/>
                    </a:lnTo>
                    <a:lnTo>
                      <a:pt x="572" y="6"/>
                    </a:lnTo>
                    <a:lnTo>
                      <a:pt x="570" y="6"/>
                    </a:lnTo>
                    <a:lnTo>
                      <a:pt x="568" y="10"/>
                    </a:lnTo>
                    <a:lnTo>
                      <a:pt x="568" y="14"/>
                    </a:lnTo>
                    <a:lnTo>
                      <a:pt x="565" y="16"/>
                    </a:lnTo>
                    <a:lnTo>
                      <a:pt x="567" y="19"/>
                    </a:lnTo>
                    <a:lnTo>
                      <a:pt x="565" y="19"/>
                    </a:lnTo>
                    <a:lnTo>
                      <a:pt x="564" y="19"/>
                    </a:lnTo>
                    <a:lnTo>
                      <a:pt x="560" y="18"/>
                    </a:lnTo>
                    <a:lnTo>
                      <a:pt x="554" y="23"/>
                    </a:lnTo>
                    <a:lnTo>
                      <a:pt x="550" y="29"/>
                    </a:lnTo>
                    <a:lnTo>
                      <a:pt x="559" y="29"/>
                    </a:lnTo>
                    <a:lnTo>
                      <a:pt x="559" y="33"/>
                    </a:lnTo>
                    <a:lnTo>
                      <a:pt x="562" y="34"/>
                    </a:lnTo>
                    <a:lnTo>
                      <a:pt x="564" y="39"/>
                    </a:lnTo>
                    <a:lnTo>
                      <a:pt x="560" y="39"/>
                    </a:lnTo>
                    <a:lnTo>
                      <a:pt x="557" y="39"/>
                    </a:lnTo>
                    <a:lnTo>
                      <a:pt x="554" y="42"/>
                    </a:lnTo>
                    <a:lnTo>
                      <a:pt x="547" y="34"/>
                    </a:lnTo>
                    <a:lnTo>
                      <a:pt x="539" y="29"/>
                    </a:lnTo>
                    <a:lnTo>
                      <a:pt x="531" y="31"/>
                    </a:lnTo>
                    <a:lnTo>
                      <a:pt x="529" y="33"/>
                    </a:lnTo>
                    <a:lnTo>
                      <a:pt x="531" y="41"/>
                    </a:lnTo>
                    <a:lnTo>
                      <a:pt x="524" y="41"/>
                    </a:lnTo>
                    <a:lnTo>
                      <a:pt x="521" y="39"/>
                    </a:lnTo>
                    <a:lnTo>
                      <a:pt x="519" y="42"/>
                    </a:lnTo>
                    <a:lnTo>
                      <a:pt x="518" y="42"/>
                    </a:lnTo>
                    <a:lnTo>
                      <a:pt x="518" y="46"/>
                    </a:lnTo>
                    <a:lnTo>
                      <a:pt x="514" y="49"/>
                    </a:lnTo>
                    <a:lnTo>
                      <a:pt x="516" y="52"/>
                    </a:lnTo>
                    <a:lnTo>
                      <a:pt x="513" y="56"/>
                    </a:lnTo>
                    <a:lnTo>
                      <a:pt x="513" y="60"/>
                    </a:lnTo>
                    <a:lnTo>
                      <a:pt x="514" y="62"/>
                    </a:lnTo>
                    <a:lnTo>
                      <a:pt x="509" y="82"/>
                    </a:lnTo>
                    <a:lnTo>
                      <a:pt x="504" y="98"/>
                    </a:lnTo>
                    <a:lnTo>
                      <a:pt x="503" y="102"/>
                    </a:lnTo>
                    <a:lnTo>
                      <a:pt x="498" y="98"/>
                    </a:lnTo>
                    <a:lnTo>
                      <a:pt x="493" y="102"/>
                    </a:lnTo>
                    <a:lnTo>
                      <a:pt x="496" y="108"/>
                    </a:lnTo>
                    <a:lnTo>
                      <a:pt x="491" y="110"/>
                    </a:lnTo>
                    <a:lnTo>
                      <a:pt x="485" y="111"/>
                    </a:lnTo>
                    <a:lnTo>
                      <a:pt x="478" y="110"/>
                    </a:lnTo>
                    <a:lnTo>
                      <a:pt x="481" y="113"/>
                    </a:lnTo>
                    <a:lnTo>
                      <a:pt x="473" y="121"/>
                    </a:lnTo>
                    <a:lnTo>
                      <a:pt x="465" y="111"/>
                    </a:lnTo>
                    <a:lnTo>
                      <a:pt x="455" y="103"/>
                    </a:lnTo>
                    <a:lnTo>
                      <a:pt x="455" y="107"/>
                    </a:lnTo>
                    <a:lnTo>
                      <a:pt x="453" y="110"/>
                    </a:lnTo>
                    <a:lnTo>
                      <a:pt x="455" y="116"/>
                    </a:lnTo>
                    <a:lnTo>
                      <a:pt x="460" y="118"/>
                    </a:lnTo>
                    <a:lnTo>
                      <a:pt x="458" y="121"/>
                    </a:lnTo>
                    <a:lnTo>
                      <a:pt x="460" y="120"/>
                    </a:lnTo>
                    <a:lnTo>
                      <a:pt x="462" y="121"/>
                    </a:lnTo>
                    <a:lnTo>
                      <a:pt x="467" y="121"/>
                    </a:lnTo>
                    <a:lnTo>
                      <a:pt x="473" y="131"/>
                    </a:lnTo>
                    <a:lnTo>
                      <a:pt x="462" y="141"/>
                    </a:lnTo>
                    <a:lnTo>
                      <a:pt x="463" y="141"/>
                    </a:lnTo>
                    <a:lnTo>
                      <a:pt x="462" y="146"/>
                    </a:lnTo>
                    <a:lnTo>
                      <a:pt x="465" y="146"/>
                    </a:lnTo>
                    <a:lnTo>
                      <a:pt x="467" y="151"/>
                    </a:lnTo>
                    <a:lnTo>
                      <a:pt x="467" y="154"/>
                    </a:lnTo>
                    <a:lnTo>
                      <a:pt x="462" y="156"/>
                    </a:lnTo>
                    <a:lnTo>
                      <a:pt x="460" y="156"/>
                    </a:lnTo>
                    <a:lnTo>
                      <a:pt x="458" y="156"/>
                    </a:lnTo>
                    <a:lnTo>
                      <a:pt x="453" y="164"/>
                    </a:lnTo>
                    <a:lnTo>
                      <a:pt x="453" y="167"/>
                    </a:lnTo>
                    <a:lnTo>
                      <a:pt x="447" y="172"/>
                    </a:lnTo>
                    <a:lnTo>
                      <a:pt x="450" y="181"/>
                    </a:lnTo>
                    <a:lnTo>
                      <a:pt x="452" y="182"/>
                    </a:lnTo>
                    <a:lnTo>
                      <a:pt x="447" y="190"/>
                    </a:lnTo>
                    <a:lnTo>
                      <a:pt x="450" y="202"/>
                    </a:lnTo>
                    <a:lnTo>
                      <a:pt x="450" y="200"/>
                    </a:lnTo>
                    <a:lnTo>
                      <a:pt x="449" y="208"/>
                    </a:lnTo>
                    <a:lnTo>
                      <a:pt x="449" y="210"/>
                    </a:lnTo>
                    <a:lnTo>
                      <a:pt x="435" y="220"/>
                    </a:lnTo>
                    <a:lnTo>
                      <a:pt x="442" y="227"/>
                    </a:lnTo>
                    <a:lnTo>
                      <a:pt x="445" y="240"/>
                    </a:lnTo>
                    <a:lnTo>
                      <a:pt x="447" y="245"/>
                    </a:lnTo>
                    <a:lnTo>
                      <a:pt x="449" y="250"/>
                    </a:lnTo>
                    <a:lnTo>
                      <a:pt x="444" y="253"/>
                    </a:lnTo>
                    <a:lnTo>
                      <a:pt x="445" y="255"/>
                    </a:lnTo>
                    <a:lnTo>
                      <a:pt x="449" y="261"/>
                    </a:lnTo>
                    <a:lnTo>
                      <a:pt x="455" y="269"/>
                    </a:lnTo>
                    <a:lnTo>
                      <a:pt x="458" y="269"/>
                    </a:lnTo>
                    <a:lnTo>
                      <a:pt x="460" y="276"/>
                    </a:lnTo>
                    <a:lnTo>
                      <a:pt x="462" y="276"/>
                    </a:lnTo>
                    <a:lnTo>
                      <a:pt x="453" y="278"/>
                    </a:lnTo>
                    <a:lnTo>
                      <a:pt x="452" y="278"/>
                    </a:lnTo>
                    <a:lnTo>
                      <a:pt x="450" y="273"/>
                    </a:lnTo>
                    <a:lnTo>
                      <a:pt x="449" y="273"/>
                    </a:lnTo>
                    <a:lnTo>
                      <a:pt x="444" y="278"/>
                    </a:lnTo>
                    <a:lnTo>
                      <a:pt x="442" y="284"/>
                    </a:lnTo>
                    <a:lnTo>
                      <a:pt x="445" y="287"/>
                    </a:lnTo>
                    <a:lnTo>
                      <a:pt x="447" y="292"/>
                    </a:lnTo>
                    <a:lnTo>
                      <a:pt x="445" y="294"/>
                    </a:lnTo>
                    <a:lnTo>
                      <a:pt x="447" y="294"/>
                    </a:lnTo>
                    <a:lnTo>
                      <a:pt x="450" y="299"/>
                    </a:lnTo>
                    <a:lnTo>
                      <a:pt x="452" y="301"/>
                    </a:lnTo>
                    <a:lnTo>
                      <a:pt x="455" y="301"/>
                    </a:lnTo>
                    <a:lnTo>
                      <a:pt x="457" y="304"/>
                    </a:lnTo>
                    <a:lnTo>
                      <a:pt x="460" y="307"/>
                    </a:lnTo>
                    <a:lnTo>
                      <a:pt x="472" y="305"/>
                    </a:lnTo>
                    <a:lnTo>
                      <a:pt x="473" y="307"/>
                    </a:lnTo>
                    <a:lnTo>
                      <a:pt x="475" y="307"/>
                    </a:lnTo>
                    <a:lnTo>
                      <a:pt x="480" y="310"/>
                    </a:lnTo>
                    <a:lnTo>
                      <a:pt x="483" y="317"/>
                    </a:lnTo>
                    <a:lnTo>
                      <a:pt x="476" y="325"/>
                    </a:lnTo>
                    <a:lnTo>
                      <a:pt x="472" y="327"/>
                    </a:lnTo>
                    <a:lnTo>
                      <a:pt x="470" y="325"/>
                    </a:lnTo>
                    <a:lnTo>
                      <a:pt x="467" y="327"/>
                    </a:lnTo>
                    <a:lnTo>
                      <a:pt x="465" y="325"/>
                    </a:lnTo>
                    <a:lnTo>
                      <a:pt x="463" y="325"/>
                    </a:lnTo>
                    <a:lnTo>
                      <a:pt x="465" y="333"/>
                    </a:lnTo>
                    <a:lnTo>
                      <a:pt x="460" y="335"/>
                    </a:lnTo>
                    <a:lnTo>
                      <a:pt x="462" y="337"/>
                    </a:lnTo>
                    <a:lnTo>
                      <a:pt x="460" y="338"/>
                    </a:lnTo>
                    <a:lnTo>
                      <a:pt x="462" y="343"/>
                    </a:lnTo>
                    <a:lnTo>
                      <a:pt x="475" y="365"/>
                    </a:lnTo>
                    <a:lnTo>
                      <a:pt x="475" y="366"/>
                    </a:lnTo>
                    <a:lnTo>
                      <a:pt x="476" y="370"/>
                    </a:lnTo>
                    <a:lnTo>
                      <a:pt x="483" y="366"/>
                    </a:lnTo>
                    <a:lnTo>
                      <a:pt x="483" y="376"/>
                    </a:lnTo>
                    <a:lnTo>
                      <a:pt x="485" y="383"/>
                    </a:lnTo>
                    <a:lnTo>
                      <a:pt x="488" y="388"/>
                    </a:lnTo>
                    <a:lnTo>
                      <a:pt x="490" y="393"/>
                    </a:lnTo>
                    <a:lnTo>
                      <a:pt x="491" y="394"/>
                    </a:lnTo>
                    <a:lnTo>
                      <a:pt x="493" y="398"/>
                    </a:lnTo>
                    <a:lnTo>
                      <a:pt x="498" y="404"/>
                    </a:lnTo>
                    <a:lnTo>
                      <a:pt x="503" y="406"/>
                    </a:lnTo>
                    <a:lnTo>
                      <a:pt x="504" y="409"/>
                    </a:lnTo>
                    <a:lnTo>
                      <a:pt x="504" y="416"/>
                    </a:lnTo>
                    <a:lnTo>
                      <a:pt x="501" y="421"/>
                    </a:lnTo>
                    <a:lnTo>
                      <a:pt x="504" y="424"/>
                    </a:lnTo>
                    <a:lnTo>
                      <a:pt x="498" y="422"/>
                    </a:lnTo>
                    <a:lnTo>
                      <a:pt x="493" y="426"/>
                    </a:lnTo>
                    <a:lnTo>
                      <a:pt x="490" y="424"/>
                    </a:lnTo>
                    <a:lnTo>
                      <a:pt x="488" y="427"/>
                    </a:lnTo>
                    <a:lnTo>
                      <a:pt x="491" y="429"/>
                    </a:lnTo>
                    <a:lnTo>
                      <a:pt x="491" y="432"/>
                    </a:lnTo>
                    <a:lnTo>
                      <a:pt x="495" y="430"/>
                    </a:lnTo>
                    <a:lnTo>
                      <a:pt x="493" y="437"/>
                    </a:lnTo>
                    <a:lnTo>
                      <a:pt x="493" y="439"/>
                    </a:lnTo>
                    <a:lnTo>
                      <a:pt x="498" y="442"/>
                    </a:lnTo>
                    <a:lnTo>
                      <a:pt x="503" y="449"/>
                    </a:lnTo>
                    <a:lnTo>
                      <a:pt x="508" y="449"/>
                    </a:lnTo>
                    <a:lnTo>
                      <a:pt x="508" y="452"/>
                    </a:lnTo>
                    <a:lnTo>
                      <a:pt x="513" y="453"/>
                    </a:lnTo>
                    <a:lnTo>
                      <a:pt x="514" y="453"/>
                    </a:lnTo>
                    <a:lnTo>
                      <a:pt x="514" y="455"/>
                    </a:lnTo>
                    <a:lnTo>
                      <a:pt x="514" y="457"/>
                    </a:lnTo>
                    <a:lnTo>
                      <a:pt x="513" y="457"/>
                    </a:lnTo>
                    <a:lnTo>
                      <a:pt x="513" y="458"/>
                    </a:lnTo>
                    <a:lnTo>
                      <a:pt x="513" y="462"/>
                    </a:lnTo>
                    <a:lnTo>
                      <a:pt x="514" y="462"/>
                    </a:lnTo>
                    <a:lnTo>
                      <a:pt x="518" y="467"/>
                    </a:lnTo>
                    <a:lnTo>
                      <a:pt x="514" y="476"/>
                    </a:lnTo>
                    <a:lnTo>
                      <a:pt x="513" y="476"/>
                    </a:lnTo>
                    <a:lnTo>
                      <a:pt x="508" y="470"/>
                    </a:lnTo>
                    <a:lnTo>
                      <a:pt x="503" y="472"/>
                    </a:lnTo>
                    <a:lnTo>
                      <a:pt x="501" y="483"/>
                    </a:lnTo>
                    <a:lnTo>
                      <a:pt x="503" y="485"/>
                    </a:lnTo>
                    <a:lnTo>
                      <a:pt x="504" y="488"/>
                    </a:lnTo>
                    <a:lnTo>
                      <a:pt x="503" y="493"/>
                    </a:lnTo>
                    <a:lnTo>
                      <a:pt x="506" y="495"/>
                    </a:lnTo>
                    <a:lnTo>
                      <a:pt x="504" y="496"/>
                    </a:lnTo>
                    <a:lnTo>
                      <a:pt x="504" y="500"/>
                    </a:lnTo>
                    <a:lnTo>
                      <a:pt x="501" y="500"/>
                    </a:lnTo>
                    <a:lnTo>
                      <a:pt x="498" y="503"/>
                    </a:lnTo>
                    <a:lnTo>
                      <a:pt x="501" y="506"/>
                    </a:lnTo>
                    <a:lnTo>
                      <a:pt x="499" y="514"/>
                    </a:lnTo>
                    <a:lnTo>
                      <a:pt x="503" y="514"/>
                    </a:lnTo>
                    <a:lnTo>
                      <a:pt x="501" y="521"/>
                    </a:lnTo>
                    <a:lnTo>
                      <a:pt x="498" y="524"/>
                    </a:lnTo>
                    <a:lnTo>
                      <a:pt x="491" y="519"/>
                    </a:lnTo>
                    <a:lnTo>
                      <a:pt x="486" y="518"/>
                    </a:lnTo>
                    <a:lnTo>
                      <a:pt x="478" y="519"/>
                    </a:lnTo>
                    <a:lnTo>
                      <a:pt x="478" y="521"/>
                    </a:lnTo>
                    <a:lnTo>
                      <a:pt x="475" y="519"/>
                    </a:lnTo>
                    <a:lnTo>
                      <a:pt x="475" y="524"/>
                    </a:lnTo>
                    <a:lnTo>
                      <a:pt x="470" y="527"/>
                    </a:lnTo>
                    <a:lnTo>
                      <a:pt x="470" y="529"/>
                    </a:lnTo>
                    <a:lnTo>
                      <a:pt x="467" y="539"/>
                    </a:lnTo>
                    <a:lnTo>
                      <a:pt x="458" y="537"/>
                    </a:lnTo>
                    <a:lnTo>
                      <a:pt x="447" y="541"/>
                    </a:lnTo>
                    <a:lnTo>
                      <a:pt x="445" y="547"/>
                    </a:lnTo>
                    <a:lnTo>
                      <a:pt x="453" y="554"/>
                    </a:lnTo>
                    <a:lnTo>
                      <a:pt x="453" y="557"/>
                    </a:lnTo>
                    <a:lnTo>
                      <a:pt x="453" y="559"/>
                    </a:lnTo>
                    <a:lnTo>
                      <a:pt x="452" y="560"/>
                    </a:lnTo>
                    <a:lnTo>
                      <a:pt x="458" y="572"/>
                    </a:lnTo>
                    <a:lnTo>
                      <a:pt x="458" y="573"/>
                    </a:lnTo>
                    <a:lnTo>
                      <a:pt x="457" y="585"/>
                    </a:lnTo>
                    <a:lnTo>
                      <a:pt x="455" y="590"/>
                    </a:lnTo>
                    <a:lnTo>
                      <a:pt x="458" y="590"/>
                    </a:lnTo>
                    <a:lnTo>
                      <a:pt x="463" y="590"/>
                    </a:lnTo>
                    <a:lnTo>
                      <a:pt x="468" y="595"/>
                    </a:lnTo>
                    <a:lnTo>
                      <a:pt x="467" y="598"/>
                    </a:lnTo>
                    <a:lnTo>
                      <a:pt x="468" y="603"/>
                    </a:lnTo>
                    <a:lnTo>
                      <a:pt x="465" y="608"/>
                    </a:lnTo>
                    <a:lnTo>
                      <a:pt x="465" y="610"/>
                    </a:lnTo>
                    <a:lnTo>
                      <a:pt x="468" y="618"/>
                    </a:lnTo>
                    <a:lnTo>
                      <a:pt x="465" y="638"/>
                    </a:lnTo>
                    <a:lnTo>
                      <a:pt x="467" y="643"/>
                    </a:lnTo>
                    <a:lnTo>
                      <a:pt x="472" y="643"/>
                    </a:lnTo>
                    <a:lnTo>
                      <a:pt x="478" y="647"/>
                    </a:lnTo>
                    <a:lnTo>
                      <a:pt x="476" y="651"/>
                    </a:lnTo>
                    <a:lnTo>
                      <a:pt x="478" y="656"/>
                    </a:lnTo>
                    <a:lnTo>
                      <a:pt x="476" y="657"/>
                    </a:lnTo>
                    <a:lnTo>
                      <a:pt x="475" y="656"/>
                    </a:lnTo>
                    <a:lnTo>
                      <a:pt x="473" y="657"/>
                    </a:lnTo>
                    <a:lnTo>
                      <a:pt x="476" y="659"/>
                    </a:lnTo>
                    <a:lnTo>
                      <a:pt x="475" y="661"/>
                    </a:lnTo>
                    <a:lnTo>
                      <a:pt x="473" y="659"/>
                    </a:lnTo>
                    <a:lnTo>
                      <a:pt x="470" y="659"/>
                    </a:lnTo>
                    <a:lnTo>
                      <a:pt x="468" y="661"/>
                    </a:lnTo>
                    <a:lnTo>
                      <a:pt x="468" y="666"/>
                    </a:lnTo>
                    <a:lnTo>
                      <a:pt x="472" y="667"/>
                    </a:lnTo>
                    <a:lnTo>
                      <a:pt x="472" y="671"/>
                    </a:lnTo>
                    <a:lnTo>
                      <a:pt x="473" y="672"/>
                    </a:lnTo>
                    <a:lnTo>
                      <a:pt x="476" y="672"/>
                    </a:lnTo>
                    <a:lnTo>
                      <a:pt x="472" y="684"/>
                    </a:lnTo>
                    <a:lnTo>
                      <a:pt x="470" y="685"/>
                    </a:lnTo>
                    <a:lnTo>
                      <a:pt x="465" y="684"/>
                    </a:lnTo>
                    <a:lnTo>
                      <a:pt x="458" y="690"/>
                    </a:lnTo>
                    <a:lnTo>
                      <a:pt x="457" y="692"/>
                    </a:lnTo>
                    <a:lnTo>
                      <a:pt x="450" y="689"/>
                    </a:lnTo>
                    <a:lnTo>
                      <a:pt x="447" y="685"/>
                    </a:lnTo>
                    <a:lnTo>
                      <a:pt x="445" y="685"/>
                    </a:lnTo>
                    <a:lnTo>
                      <a:pt x="444" y="684"/>
                    </a:lnTo>
                    <a:lnTo>
                      <a:pt x="435" y="674"/>
                    </a:lnTo>
                    <a:lnTo>
                      <a:pt x="427" y="674"/>
                    </a:lnTo>
                    <a:lnTo>
                      <a:pt x="426" y="674"/>
                    </a:lnTo>
                    <a:lnTo>
                      <a:pt x="417" y="669"/>
                    </a:lnTo>
                    <a:lnTo>
                      <a:pt x="412" y="667"/>
                    </a:lnTo>
                    <a:lnTo>
                      <a:pt x="404" y="666"/>
                    </a:lnTo>
                    <a:lnTo>
                      <a:pt x="403" y="669"/>
                    </a:lnTo>
                    <a:lnTo>
                      <a:pt x="396" y="659"/>
                    </a:lnTo>
                    <a:lnTo>
                      <a:pt x="394" y="656"/>
                    </a:lnTo>
                    <a:lnTo>
                      <a:pt x="389" y="657"/>
                    </a:lnTo>
                    <a:lnTo>
                      <a:pt x="381" y="669"/>
                    </a:lnTo>
                    <a:lnTo>
                      <a:pt x="381" y="667"/>
                    </a:lnTo>
                    <a:lnTo>
                      <a:pt x="381" y="659"/>
                    </a:lnTo>
                    <a:lnTo>
                      <a:pt x="381" y="657"/>
                    </a:lnTo>
                    <a:lnTo>
                      <a:pt x="380" y="659"/>
                    </a:lnTo>
                    <a:lnTo>
                      <a:pt x="378" y="661"/>
                    </a:lnTo>
                    <a:lnTo>
                      <a:pt x="363" y="662"/>
                    </a:lnTo>
                    <a:lnTo>
                      <a:pt x="355" y="671"/>
                    </a:lnTo>
                    <a:lnTo>
                      <a:pt x="353" y="667"/>
                    </a:lnTo>
                    <a:lnTo>
                      <a:pt x="350" y="666"/>
                    </a:lnTo>
                    <a:lnTo>
                      <a:pt x="347" y="667"/>
                    </a:lnTo>
                    <a:lnTo>
                      <a:pt x="343" y="669"/>
                    </a:lnTo>
                    <a:lnTo>
                      <a:pt x="340" y="674"/>
                    </a:lnTo>
                    <a:lnTo>
                      <a:pt x="329" y="677"/>
                    </a:lnTo>
                    <a:lnTo>
                      <a:pt x="325" y="675"/>
                    </a:lnTo>
                    <a:lnTo>
                      <a:pt x="317" y="680"/>
                    </a:lnTo>
                    <a:lnTo>
                      <a:pt x="314" y="687"/>
                    </a:lnTo>
                    <a:lnTo>
                      <a:pt x="312" y="689"/>
                    </a:lnTo>
                    <a:lnTo>
                      <a:pt x="304" y="689"/>
                    </a:lnTo>
                    <a:lnTo>
                      <a:pt x="302" y="692"/>
                    </a:lnTo>
                    <a:lnTo>
                      <a:pt x="297" y="684"/>
                    </a:lnTo>
                    <a:lnTo>
                      <a:pt x="294" y="677"/>
                    </a:lnTo>
                    <a:lnTo>
                      <a:pt x="294" y="672"/>
                    </a:lnTo>
                    <a:lnTo>
                      <a:pt x="286" y="669"/>
                    </a:lnTo>
                    <a:lnTo>
                      <a:pt x="278" y="661"/>
                    </a:lnTo>
                    <a:lnTo>
                      <a:pt x="276" y="659"/>
                    </a:lnTo>
                    <a:lnTo>
                      <a:pt x="276" y="654"/>
                    </a:lnTo>
                    <a:lnTo>
                      <a:pt x="271" y="651"/>
                    </a:lnTo>
                    <a:lnTo>
                      <a:pt x="271" y="646"/>
                    </a:lnTo>
                    <a:lnTo>
                      <a:pt x="269" y="639"/>
                    </a:lnTo>
                    <a:lnTo>
                      <a:pt x="266" y="638"/>
                    </a:lnTo>
                    <a:lnTo>
                      <a:pt x="261" y="629"/>
                    </a:lnTo>
                    <a:lnTo>
                      <a:pt x="256" y="626"/>
                    </a:lnTo>
                    <a:lnTo>
                      <a:pt x="251" y="621"/>
                    </a:lnTo>
                    <a:lnTo>
                      <a:pt x="243" y="623"/>
                    </a:lnTo>
                    <a:lnTo>
                      <a:pt x="235" y="618"/>
                    </a:lnTo>
                    <a:lnTo>
                      <a:pt x="232" y="616"/>
                    </a:lnTo>
                    <a:lnTo>
                      <a:pt x="223" y="616"/>
                    </a:lnTo>
                    <a:lnTo>
                      <a:pt x="222" y="616"/>
                    </a:lnTo>
                    <a:lnTo>
                      <a:pt x="215" y="621"/>
                    </a:lnTo>
                    <a:lnTo>
                      <a:pt x="215" y="626"/>
                    </a:lnTo>
                    <a:lnTo>
                      <a:pt x="217" y="629"/>
                    </a:lnTo>
                    <a:lnTo>
                      <a:pt x="219" y="629"/>
                    </a:lnTo>
                    <a:lnTo>
                      <a:pt x="220" y="633"/>
                    </a:lnTo>
                    <a:lnTo>
                      <a:pt x="222" y="638"/>
                    </a:lnTo>
                    <a:lnTo>
                      <a:pt x="215" y="644"/>
                    </a:lnTo>
                    <a:lnTo>
                      <a:pt x="210" y="647"/>
                    </a:lnTo>
                    <a:lnTo>
                      <a:pt x="209" y="652"/>
                    </a:lnTo>
                    <a:lnTo>
                      <a:pt x="205" y="654"/>
                    </a:lnTo>
                    <a:lnTo>
                      <a:pt x="205" y="656"/>
                    </a:lnTo>
                    <a:lnTo>
                      <a:pt x="204" y="659"/>
                    </a:lnTo>
                    <a:lnTo>
                      <a:pt x="205" y="666"/>
                    </a:lnTo>
                    <a:lnTo>
                      <a:pt x="214" y="667"/>
                    </a:lnTo>
                    <a:lnTo>
                      <a:pt x="217" y="669"/>
                    </a:lnTo>
                    <a:lnTo>
                      <a:pt x="217" y="672"/>
                    </a:lnTo>
                    <a:lnTo>
                      <a:pt x="202" y="675"/>
                    </a:lnTo>
                    <a:lnTo>
                      <a:pt x="197" y="679"/>
                    </a:lnTo>
                    <a:lnTo>
                      <a:pt x="197" y="680"/>
                    </a:lnTo>
                    <a:lnTo>
                      <a:pt x="192" y="682"/>
                    </a:lnTo>
                    <a:lnTo>
                      <a:pt x="189" y="677"/>
                    </a:lnTo>
                    <a:lnTo>
                      <a:pt x="186" y="677"/>
                    </a:lnTo>
                    <a:lnTo>
                      <a:pt x="181" y="679"/>
                    </a:lnTo>
                    <a:lnTo>
                      <a:pt x="182" y="684"/>
                    </a:lnTo>
                    <a:lnTo>
                      <a:pt x="177" y="689"/>
                    </a:lnTo>
                    <a:lnTo>
                      <a:pt x="174" y="684"/>
                    </a:lnTo>
                    <a:lnTo>
                      <a:pt x="171" y="684"/>
                    </a:lnTo>
                    <a:lnTo>
                      <a:pt x="171" y="680"/>
                    </a:lnTo>
                    <a:lnTo>
                      <a:pt x="166" y="675"/>
                    </a:lnTo>
                    <a:lnTo>
                      <a:pt x="166" y="674"/>
                    </a:lnTo>
                    <a:lnTo>
                      <a:pt x="161" y="664"/>
                    </a:lnTo>
                    <a:lnTo>
                      <a:pt x="158" y="664"/>
                    </a:lnTo>
                    <a:lnTo>
                      <a:pt x="153" y="666"/>
                    </a:lnTo>
                    <a:lnTo>
                      <a:pt x="150" y="664"/>
                    </a:lnTo>
                    <a:lnTo>
                      <a:pt x="150" y="661"/>
                    </a:lnTo>
                    <a:lnTo>
                      <a:pt x="145" y="661"/>
                    </a:lnTo>
                    <a:lnTo>
                      <a:pt x="145" y="662"/>
                    </a:lnTo>
                    <a:lnTo>
                      <a:pt x="143" y="664"/>
                    </a:lnTo>
                    <a:lnTo>
                      <a:pt x="146" y="666"/>
                    </a:lnTo>
                    <a:lnTo>
                      <a:pt x="146" y="669"/>
                    </a:lnTo>
                    <a:lnTo>
                      <a:pt x="143" y="672"/>
                    </a:lnTo>
                    <a:lnTo>
                      <a:pt x="140" y="674"/>
                    </a:lnTo>
                    <a:lnTo>
                      <a:pt x="136" y="669"/>
                    </a:lnTo>
                    <a:lnTo>
                      <a:pt x="136" y="671"/>
                    </a:lnTo>
                    <a:lnTo>
                      <a:pt x="133" y="672"/>
                    </a:lnTo>
                    <a:lnTo>
                      <a:pt x="130" y="674"/>
                    </a:lnTo>
                    <a:lnTo>
                      <a:pt x="128" y="671"/>
                    </a:lnTo>
                    <a:lnTo>
                      <a:pt x="125" y="674"/>
                    </a:lnTo>
                    <a:lnTo>
                      <a:pt x="128" y="675"/>
                    </a:lnTo>
                    <a:lnTo>
                      <a:pt x="127" y="679"/>
                    </a:lnTo>
                    <a:lnTo>
                      <a:pt x="128" y="682"/>
                    </a:lnTo>
                    <a:lnTo>
                      <a:pt x="128" y="684"/>
                    </a:lnTo>
                    <a:lnTo>
                      <a:pt x="127" y="687"/>
                    </a:lnTo>
                    <a:lnTo>
                      <a:pt x="128" y="690"/>
                    </a:lnTo>
                    <a:lnTo>
                      <a:pt x="127" y="690"/>
                    </a:lnTo>
                    <a:lnTo>
                      <a:pt x="125" y="692"/>
                    </a:lnTo>
                    <a:lnTo>
                      <a:pt x="123" y="694"/>
                    </a:lnTo>
                    <a:lnTo>
                      <a:pt x="122" y="694"/>
                    </a:lnTo>
                    <a:lnTo>
                      <a:pt x="125" y="698"/>
                    </a:lnTo>
                    <a:lnTo>
                      <a:pt x="125" y="702"/>
                    </a:lnTo>
                    <a:lnTo>
                      <a:pt x="122" y="703"/>
                    </a:lnTo>
                    <a:lnTo>
                      <a:pt x="120" y="712"/>
                    </a:lnTo>
                    <a:lnTo>
                      <a:pt x="118" y="712"/>
                    </a:lnTo>
                    <a:lnTo>
                      <a:pt x="122" y="720"/>
                    </a:lnTo>
                    <a:lnTo>
                      <a:pt x="123" y="721"/>
                    </a:lnTo>
                    <a:lnTo>
                      <a:pt x="123" y="725"/>
                    </a:lnTo>
                    <a:lnTo>
                      <a:pt x="118" y="728"/>
                    </a:lnTo>
                    <a:lnTo>
                      <a:pt x="117" y="725"/>
                    </a:lnTo>
                    <a:lnTo>
                      <a:pt x="110" y="723"/>
                    </a:lnTo>
                    <a:lnTo>
                      <a:pt x="108" y="726"/>
                    </a:lnTo>
                    <a:lnTo>
                      <a:pt x="105" y="723"/>
                    </a:lnTo>
                    <a:lnTo>
                      <a:pt x="99" y="730"/>
                    </a:lnTo>
                    <a:lnTo>
                      <a:pt x="94" y="730"/>
                    </a:lnTo>
                    <a:lnTo>
                      <a:pt x="89" y="733"/>
                    </a:lnTo>
                    <a:lnTo>
                      <a:pt x="87" y="733"/>
                    </a:lnTo>
                    <a:lnTo>
                      <a:pt x="87" y="736"/>
                    </a:lnTo>
                    <a:lnTo>
                      <a:pt x="84" y="735"/>
                    </a:lnTo>
                    <a:lnTo>
                      <a:pt x="74" y="736"/>
                    </a:lnTo>
                    <a:lnTo>
                      <a:pt x="72" y="735"/>
                    </a:lnTo>
                    <a:lnTo>
                      <a:pt x="71" y="736"/>
                    </a:lnTo>
                    <a:lnTo>
                      <a:pt x="71" y="738"/>
                    </a:lnTo>
                    <a:lnTo>
                      <a:pt x="62" y="740"/>
                    </a:lnTo>
                    <a:lnTo>
                      <a:pt x="61" y="743"/>
                    </a:lnTo>
                    <a:lnTo>
                      <a:pt x="56" y="741"/>
                    </a:lnTo>
                    <a:lnTo>
                      <a:pt x="53" y="736"/>
                    </a:lnTo>
                    <a:lnTo>
                      <a:pt x="51" y="741"/>
                    </a:lnTo>
                    <a:lnTo>
                      <a:pt x="46" y="743"/>
                    </a:lnTo>
                    <a:lnTo>
                      <a:pt x="46" y="744"/>
                    </a:lnTo>
                    <a:lnTo>
                      <a:pt x="41" y="746"/>
                    </a:lnTo>
                    <a:lnTo>
                      <a:pt x="41" y="743"/>
                    </a:lnTo>
                    <a:lnTo>
                      <a:pt x="31" y="744"/>
                    </a:lnTo>
                    <a:lnTo>
                      <a:pt x="30" y="744"/>
                    </a:lnTo>
                    <a:lnTo>
                      <a:pt x="30" y="746"/>
                    </a:lnTo>
                    <a:lnTo>
                      <a:pt x="26" y="744"/>
                    </a:lnTo>
                    <a:lnTo>
                      <a:pt x="16" y="749"/>
                    </a:lnTo>
                    <a:lnTo>
                      <a:pt x="12" y="749"/>
                    </a:lnTo>
                    <a:lnTo>
                      <a:pt x="10" y="751"/>
                    </a:lnTo>
                    <a:lnTo>
                      <a:pt x="7" y="753"/>
                    </a:lnTo>
                    <a:lnTo>
                      <a:pt x="5" y="759"/>
                    </a:lnTo>
                    <a:lnTo>
                      <a:pt x="3" y="761"/>
                    </a:lnTo>
                    <a:lnTo>
                      <a:pt x="0" y="764"/>
                    </a:lnTo>
                    <a:lnTo>
                      <a:pt x="5" y="764"/>
                    </a:lnTo>
                    <a:lnTo>
                      <a:pt x="8" y="766"/>
                    </a:lnTo>
                    <a:lnTo>
                      <a:pt x="13" y="768"/>
                    </a:lnTo>
                    <a:lnTo>
                      <a:pt x="15" y="769"/>
                    </a:lnTo>
                    <a:lnTo>
                      <a:pt x="25" y="771"/>
                    </a:lnTo>
                    <a:lnTo>
                      <a:pt x="26" y="776"/>
                    </a:lnTo>
                    <a:lnTo>
                      <a:pt x="23" y="781"/>
                    </a:lnTo>
                    <a:lnTo>
                      <a:pt x="20" y="781"/>
                    </a:lnTo>
                    <a:lnTo>
                      <a:pt x="12" y="782"/>
                    </a:lnTo>
                    <a:lnTo>
                      <a:pt x="8" y="784"/>
                    </a:lnTo>
                    <a:lnTo>
                      <a:pt x="2" y="791"/>
                    </a:lnTo>
                    <a:lnTo>
                      <a:pt x="3" y="794"/>
                    </a:lnTo>
                    <a:lnTo>
                      <a:pt x="10" y="797"/>
                    </a:lnTo>
                    <a:lnTo>
                      <a:pt x="8" y="799"/>
                    </a:lnTo>
                    <a:lnTo>
                      <a:pt x="8" y="804"/>
                    </a:lnTo>
                    <a:lnTo>
                      <a:pt x="5" y="809"/>
                    </a:lnTo>
                    <a:lnTo>
                      <a:pt x="3" y="812"/>
                    </a:lnTo>
                    <a:lnTo>
                      <a:pt x="5" y="817"/>
                    </a:lnTo>
                    <a:lnTo>
                      <a:pt x="8" y="817"/>
                    </a:lnTo>
                    <a:lnTo>
                      <a:pt x="8" y="815"/>
                    </a:lnTo>
                    <a:lnTo>
                      <a:pt x="12" y="812"/>
                    </a:lnTo>
                    <a:lnTo>
                      <a:pt x="16" y="810"/>
                    </a:lnTo>
                    <a:lnTo>
                      <a:pt x="23" y="810"/>
                    </a:lnTo>
                    <a:lnTo>
                      <a:pt x="53" y="818"/>
                    </a:lnTo>
                    <a:lnTo>
                      <a:pt x="59" y="818"/>
                    </a:lnTo>
                    <a:lnTo>
                      <a:pt x="67" y="822"/>
                    </a:lnTo>
                    <a:lnTo>
                      <a:pt x="71" y="822"/>
                    </a:lnTo>
                    <a:lnTo>
                      <a:pt x="69" y="822"/>
                    </a:lnTo>
                    <a:lnTo>
                      <a:pt x="71" y="823"/>
                    </a:lnTo>
                    <a:lnTo>
                      <a:pt x="108" y="845"/>
                    </a:lnTo>
                    <a:lnTo>
                      <a:pt x="130" y="860"/>
                    </a:lnTo>
                    <a:lnTo>
                      <a:pt x="156" y="881"/>
                    </a:lnTo>
                    <a:lnTo>
                      <a:pt x="159" y="884"/>
                    </a:lnTo>
                    <a:lnTo>
                      <a:pt x="161" y="884"/>
                    </a:lnTo>
                    <a:lnTo>
                      <a:pt x="179" y="904"/>
                    </a:lnTo>
                    <a:lnTo>
                      <a:pt x="179" y="907"/>
                    </a:lnTo>
                    <a:lnTo>
                      <a:pt x="177" y="915"/>
                    </a:lnTo>
                    <a:lnTo>
                      <a:pt x="177" y="919"/>
                    </a:lnTo>
                    <a:lnTo>
                      <a:pt x="176" y="929"/>
                    </a:lnTo>
                    <a:lnTo>
                      <a:pt x="177" y="932"/>
                    </a:lnTo>
                    <a:lnTo>
                      <a:pt x="182" y="927"/>
                    </a:lnTo>
                    <a:lnTo>
                      <a:pt x="187" y="919"/>
                    </a:lnTo>
                    <a:lnTo>
                      <a:pt x="191" y="915"/>
                    </a:lnTo>
                    <a:lnTo>
                      <a:pt x="192" y="911"/>
                    </a:lnTo>
                    <a:lnTo>
                      <a:pt x="189" y="904"/>
                    </a:lnTo>
                    <a:lnTo>
                      <a:pt x="187" y="901"/>
                    </a:lnTo>
                    <a:lnTo>
                      <a:pt x="189" y="901"/>
                    </a:lnTo>
                    <a:lnTo>
                      <a:pt x="184" y="901"/>
                    </a:lnTo>
                    <a:lnTo>
                      <a:pt x="186" y="899"/>
                    </a:lnTo>
                    <a:lnTo>
                      <a:pt x="182" y="901"/>
                    </a:lnTo>
                    <a:lnTo>
                      <a:pt x="176" y="899"/>
                    </a:lnTo>
                    <a:lnTo>
                      <a:pt x="173" y="892"/>
                    </a:lnTo>
                    <a:lnTo>
                      <a:pt x="173" y="896"/>
                    </a:lnTo>
                    <a:lnTo>
                      <a:pt x="161" y="884"/>
                    </a:lnTo>
                    <a:lnTo>
                      <a:pt x="159" y="884"/>
                    </a:lnTo>
                    <a:lnTo>
                      <a:pt x="156" y="881"/>
                    </a:lnTo>
                    <a:lnTo>
                      <a:pt x="123" y="853"/>
                    </a:lnTo>
                    <a:lnTo>
                      <a:pt x="128" y="853"/>
                    </a:lnTo>
                    <a:lnTo>
                      <a:pt x="128" y="856"/>
                    </a:lnTo>
                    <a:lnTo>
                      <a:pt x="138" y="863"/>
                    </a:lnTo>
                    <a:lnTo>
                      <a:pt x="141" y="861"/>
                    </a:lnTo>
                    <a:lnTo>
                      <a:pt x="141" y="866"/>
                    </a:lnTo>
                    <a:lnTo>
                      <a:pt x="146" y="866"/>
                    </a:lnTo>
                    <a:lnTo>
                      <a:pt x="146" y="868"/>
                    </a:lnTo>
                    <a:lnTo>
                      <a:pt x="143" y="868"/>
                    </a:lnTo>
                    <a:lnTo>
                      <a:pt x="145" y="869"/>
                    </a:lnTo>
                    <a:lnTo>
                      <a:pt x="146" y="869"/>
                    </a:lnTo>
                    <a:lnTo>
                      <a:pt x="151" y="873"/>
                    </a:lnTo>
                    <a:lnTo>
                      <a:pt x="156" y="873"/>
                    </a:lnTo>
                    <a:lnTo>
                      <a:pt x="158" y="878"/>
                    </a:lnTo>
                    <a:lnTo>
                      <a:pt x="159" y="876"/>
                    </a:lnTo>
                    <a:lnTo>
                      <a:pt x="159" y="879"/>
                    </a:lnTo>
                    <a:lnTo>
                      <a:pt x="161" y="879"/>
                    </a:lnTo>
                    <a:lnTo>
                      <a:pt x="163" y="881"/>
                    </a:lnTo>
                    <a:lnTo>
                      <a:pt x="163" y="883"/>
                    </a:lnTo>
                    <a:lnTo>
                      <a:pt x="163" y="886"/>
                    </a:lnTo>
                    <a:lnTo>
                      <a:pt x="166" y="888"/>
                    </a:lnTo>
                    <a:lnTo>
                      <a:pt x="168" y="889"/>
                    </a:lnTo>
                    <a:lnTo>
                      <a:pt x="171" y="891"/>
                    </a:lnTo>
                    <a:lnTo>
                      <a:pt x="173" y="891"/>
                    </a:lnTo>
                    <a:lnTo>
                      <a:pt x="174" y="888"/>
                    </a:lnTo>
                    <a:lnTo>
                      <a:pt x="179" y="883"/>
                    </a:lnTo>
                    <a:lnTo>
                      <a:pt x="186" y="886"/>
                    </a:lnTo>
                    <a:lnTo>
                      <a:pt x="179" y="883"/>
                    </a:lnTo>
                    <a:lnTo>
                      <a:pt x="179" y="881"/>
                    </a:lnTo>
                    <a:lnTo>
                      <a:pt x="182" y="878"/>
                    </a:lnTo>
                    <a:lnTo>
                      <a:pt x="179" y="878"/>
                    </a:lnTo>
                    <a:lnTo>
                      <a:pt x="179" y="874"/>
                    </a:lnTo>
                    <a:lnTo>
                      <a:pt x="181" y="871"/>
                    </a:lnTo>
                    <a:lnTo>
                      <a:pt x="182" y="869"/>
                    </a:lnTo>
                    <a:lnTo>
                      <a:pt x="182" y="868"/>
                    </a:lnTo>
                    <a:lnTo>
                      <a:pt x="191" y="863"/>
                    </a:lnTo>
                    <a:lnTo>
                      <a:pt x="194" y="865"/>
                    </a:lnTo>
                    <a:lnTo>
                      <a:pt x="199" y="863"/>
                    </a:lnTo>
                    <a:lnTo>
                      <a:pt x="209" y="866"/>
                    </a:lnTo>
                    <a:lnTo>
                      <a:pt x="219" y="866"/>
                    </a:lnTo>
                    <a:lnTo>
                      <a:pt x="223" y="869"/>
                    </a:lnTo>
                    <a:lnTo>
                      <a:pt x="238" y="871"/>
                    </a:lnTo>
                    <a:lnTo>
                      <a:pt x="250" y="874"/>
                    </a:lnTo>
                    <a:lnTo>
                      <a:pt x="251" y="873"/>
                    </a:lnTo>
                    <a:lnTo>
                      <a:pt x="251" y="874"/>
                    </a:lnTo>
                    <a:lnTo>
                      <a:pt x="255" y="874"/>
                    </a:lnTo>
                    <a:lnTo>
                      <a:pt x="260" y="874"/>
                    </a:lnTo>
                    <a:lnTo>
                      <a:pt x="260" y="871"/>
                    </a:lnTo>
                    <a:lnTo>
                      <a:pt x="265" y="871"/>
                    </a:lnTo>
                    <a:lnTo>
                      <a:pt x="269" y="871"/>
                    </a:lnTo>
                    <a:lnTo>
                      <a:pt x="273" y="873"/>
                    </a:lnTo>
                    <a:lnTo>
                      <a:pt x="271" y="874"/>
                    </a:lnTo>
                    <a:lnTo>
                      <a:pt x="283" y="874"/>
                    </a:lnTo>
                    <a:lnTo>
                      <a:pt x="286" y="878"/>
                    </a:lnTo>
                    <a:lnTo>
                      <a:pt x="291" y="876"/>
                    </a:lnTo>
                    <a:lnTo>
                      <a:pt x="292" y="881"/>
                    </a:lnTo>
                    <a:lnTo>
                      <a:pt x="301" y="884"/>
                    </a:lnTo>
                    <a:lnTo>
                      <a:pt x="311" y="886"/>
                    </a:lnTo>
                    <a:lnTo>
                      <a:pt x="312" y="888"/>
                    </a:lnTo>
                    <a:lnTo>
                      <a:pt x="315" y="888"/>
                    </a:lnTo>
                    <a:lnTo>
                      <a:pt x="315" y="894"/>
                    </a:lnTo>
                    <a:lnTo>
                      <a:pt x="319" y="896"/>
                    </a:lnTo>
                    <a:lnTo>
                      <a:pt x="324" y="894"/>
                    </a:lnTo>
                    <a:lnTo>
                      <a:pt x="329" y="889"/>
                    </a:lnTo>
                    <a:lnTo>
                      <a:pt x="342" y="888"/>
                    </a:lnTo>
                    <a:lnTo>
                      <a:pt x="352" y="888"/>
                    </a:lnTo>
                    <a:lnTo>
                      <a:pt x="355" y="886"/>
                    </a:lnTo>
                    <a:lnTo>
                      <a:pt x="353" y="883"/>
                    </a:lnTo>
                    <a:lnTo>
                      <a:pt x="357" y="879"/>
                    </a:lnTo>
                    <a:lnTo>
                      <a:pt x="353" y="878"/>
                    </a:lnTo>
                    <a:lnTo>
                      <a:pt x="353" y="874"/>
                    </a:lnTo>
                    <a:lnTo>
                      <a:pt x="357" y="866"/>
                    </a:lnTo>
                    <a:lnTo>
                      <a:pt x="361" y="866"/>
                    </a:lnTo>
                    <a:lnTo>
                      <a:pt x="365" y="860"/>
                    </a:lnTo>
                    <a:lnTo>
                      <a:pt x="358" y="861"/>
                    </a:lnTo>
                    <a:lnTo>
                      <a:pt x="355" y="858"/>
                    </a:lnTo>
                    <a:lnTo>
                      <a:pt x="355" y="851"/>
                    </a:lnTo>
                    <a:lnTo>
                      <a:pt x="358" y="843"/>
                    </a:lnTo>
                    <a:lnTo>
                      <a:pt x="355" y="838"/>
                    </a:lnTo>
                    <a:lnTo>
                      <a:pt x="352" y="843"/>
                    </a:lnTo>
                    <a:lnTo>
                      <a:pt x="352" y="842"/>
                    </a:lnTo>
                    <a:lnTo>
                      <a:pt x="350" y="845"/>
                    </a:lnTo>
                    <a:lnTo>
                      <a:pt x="348" y="845"/>
                    </a:lnTo>
                    <a:lnTo>
                      <a:pt x="348" y="850"/>
                    </a:lnTo>
                    <a:lnTo>
                      <a:pt x="347" y="848"/>
                    </a:lnTo>
                    <a:lnTo>
                      <a:pt x="345" y="850"/>
                    </a:lnTo>
                    <a:lnTo>
                      <a:pt x="347" y="846"/>
                    </a:lnTo>
                    <a:lnTo>
                      <a:pt x="343" y="848"/>
                    </a:lnTo>
                    <a:lnTo>
                      <a:pt x="343" y="845"/>
                    </a:lnTo>
                    <a:lnTo>
                      <a:pt x="345" y="840"/>
                    </a:lnTo>
                    <a:lnTo>
                      <a:pt x="340" y="843"/>
                    </a:lnTo>
                    <a:lnTo>
                      <a:pt x="338" y="846"/>
                    </a:lnTo>
                    <a:lnTo>
                      <a:pt x="337" y="843"/>
                    </a:lnTo>
                    <a:lnTo>
                      <a:pt x="338" y="843"/>
                    </a:lnTo>
                    <a:lnTo>
                      <a:pt x="338" y="840"/>
                    </a:lnTo>
                    <a:lnTo>
                      <a:pt x="335" y="842"/>
                    </a:lnTo>
                    <a:lnTo>
                      <a:pt x="334" y="843"/>
                    </a:lnTo>
                    <a:lnTo>
                      <a:pt x="334" y="842"/>
                    </a:lnTo>
                    <a:lnTo>
                      <a:pt x="337" y="840"/>
                    </a:lnTo>
                    <a:lnTo>
                      <a:pt x="334" y="837"/>
                    </a:lnTo>
                    <a:lnTo>
                      <a:pt x="330" y="838"/>
                    </a:lnTo>
                    <a:lnTo>
                      <a:pt x="330" y="842"/>
                    </a:lnTo>
                    <a:lnTo>
                      <a:pt x="329" y="840"/>
                    </a:lnTo>
                    <a:lnTo>
                      <a:pt x="329" y="842"/>
                    </a:lnTo>
                    <a:lnTo>
                      <a:pt x="330" y="843"/>
                    </a:lnTo>
                    <a:lnTo>
                      <a:pt x="329" y="845"/>
                    </a:lnTo>
                    <a:lnTo>
                      <a:pt x="329" y="843"/>
                    </a:lnTo>
                    <a:lnTo>
                      <a:pt x="327" y="842"/>
                    </a:lnTo>
                    <a:lnTo>
                      <a:pt x="325" y="843"/>
                    </a:lnTo>
                    <a:lnTo>
                      <a:pt x="322" y="845"/>
                    </a:lnTo>
                    <a:lnTo>
                      <a:pt x="324" y="843"/>
                    </a:lnTo>
                    <a:lnTo>
                      <a:pt x="325" y="843"/>
                    </a:lnTo>
                    <a:lnTo>
                      <a:pt x="329" y="840"/>
                    </a:lnTo>
                    <a:lnTo>
                      <a:pt x="329" y="838"/>
                    </a:lnTo>
                    <a:lnTo>
                      <a:pt x="327" y="838"/>
                    </a:lnTo>
                    <a:lnTo>
                      <a:pt x="329" y="837"/>
                    </a:lnTo>
                    <a:lnTo>
                      <a:pt x="325" y="840"/>
                    </a:lnTo>
                    <a:lnTo>
                      <a:pt x="320" y="840"/>
                    </a:lnTo>
                    <a:lnTo>
                      <a:pt x="320" y="842"/>
                    </a:lnTo>
                    <a:lnTo>
                      <a:pt x="319" y="840"/>
                    </a:lnTo>
                    <a:lnTo>
                      <a:pt x="320" y="840"/>
                    </a:lnTo>
                    <a:lnTo>
                      <a:pt x="319" y="840"/>
                    </a:lnTo>
                    <a:lnTo>
                      <a:pt x="320" y="838"/>
                    </a:lnTo>
                    <a:lnTo>
                      <a:pt x="324" y="838"/>
                    </a:lnTo>
                    <a:lnTo>
                      <a:pt x="329" y="835"/>
                    </a:lnTo>
                    <a:lnTo>
                      <a:pt x="327" y="833"/>
                    </a:lnTo>
                    <a:lnTo>
                      <a:pt x="329" y="833"/>
                    </a:lnTo>
                    <a:lnTo>
                      <a:pt x="329" y="828"/>
                    </a:lnTo>
                    <a:lnTo>
                      <a:pt x="327" y="830"/>
                    </a:lnTo>
                    <a:lnTo>
                      <a:pt x="327" y="827"/>
                    </a:lnTo>
                    <a:lnTo>
                      <a:pt x="325" y="827"/>
                    </a:lnTo>
                    <a:lnTo>
                      <a:pt x="332" y="827"/>
                    </a:lnTo>
                    <a:lnTo>
                      <a:pt x="329" y="823"/>
                    </a:lnTo>
                    <a:lnTo>
                      <a:pt x="324" y="823"/>
                    </a:lnTo>
                    <a:lnTo>
                      <a:pt x="322" y="827"/>
                    </a:lnTo>
                    <a:lnTo>
                      <a:pt x="319" y="828"/>
                    </a:lnTo>
                    <a:lnTo>
                      <a:pt x="314" y="835"/>
                    </a:lnTo>
                    <a:lnTo>
                      <a:pt x="309" y="835"/>
                    </a:lnTo>
                    <a:lnTo>
                      <a:pt x="307" y="833"/>
                    </a:lnTo>
                    <a:lnTo>
                      <a:pt x="311" y="833"/>
                    </a:lnTo>
                    <a:lnTo>
                      <a:pt x="309" y="830"/>
                    </a:lnTo>
                    <a:lnTo>
                      <a:pt x="309" y="832"/>
                    </a:lnTo>
                    <a:lnTo>
                      <a:pt x="309" y="830"/>
                    </a:lnTo>
                    <a:lnTo>
                      <a:pt x="311" y="830"/>
                    </a:lnTo>
                    <a:lnTo>
                      <a:pt x="312" y="828"/>
                    </a:lnTo>
                    <a:lnTo>
                      <a:pt x="312" y="825"/>
                    </a:lnTo>
                    <a:lnTo>
                      <a:pt x="317" y="825"/>
                    </a:lnTo>
                    <a:lnTo>
                      <a:pt x="312" y="823"/>
                    </a:lnTo>
                    <a:lnTo>
                      <a:pt x="315" y="818"/>
                    </a:lnTo>
                    <a:lnTo>
                      <a:pt x="319" y="818"/>
                    </a:lnTo>
                    <a:lnTo>
                      <a:pt x="322" y="820"/>
                    </a:lnTo>
                    <a:lnTo>
                      <a:pt x="320" y="818"/>
                    </a:lnTo>
                    <a:lnTo>
                      <a:pt x="324" y="817"/>
                    </a:lnTo>
                    <a:lnTo>
                      <a:pt x="322" y="817"/>
                    </a:lnTo>
                    <a:lnTo>
                      <a:pt x="322" y="814"/>
                    </a:lnTo>
                    <a:lnTo>
                      <a:pt x="320" y="815"/>
                    </a:lnTo>
                    <a:lnTo>
                      <a:pt x="319" y="812"/>
                    </a:lnTo>
                    <a:lnTo>
                      <a:pt x="320" y="814"/>
                    </a:lnTo>
                    <a:lnTo>
                      <a:pt x="322" y="810"/>
                    </a:lnTo>
                    <a:lnTo>
                      <a:pt x="325" y="810"/>
                    </a:lnTo>
                    <a:lnTo>
                      <a:pt x="325" y="812"/>
                    </a:lnTo>
                    <a:lnTo>
                      <a:pt x="329" y="812"/>
                    </a:lnTo>
                    <a:lnTo>
                      <a:pt x="327" y="812"/>
                    </a:lnTo>
                    <a:lnTo>
                      <a:pt x="325" y="814"/>
                    </a:lnTo>
                    <a:lnTo>
                      <a:pt x="325" y="815"/>
                    </a:lnTo>
                    <a:lnTo>
                      <a:pt x="324" y="817"/>
                    </a:lnTo>
                    <a:lnTo>
                      <a:pt x="324" y="818"/>
                    </a:lnTo>
                    <a:lnTo>
                      <a:pt x="327" y="818"/>
                    </a:lnTo>
                    <a:lnTo>
                      <a:pt x="334" y="822"/>
                    </a:lnTo>
                    <a:lnTo>
                      <a:pt x="342" y="823"/>
                    </a:lnTo>
                    <a:lnTo>
                      <a:pt x="342" y="822"/>
                    </a:lnTo>
                    <a:lnTo>
                      <a:pt x="340" y="820"/>
                    </a:lnTo>
                    <a:lnTo>
                      <a:pt x="340" y="818"/>
                    </a:lnTo>
                    <a:lnTo>
                      <a:pt x="337" y="817"/>
                    </a:lnTo>
                    <a:lnTo>
                      <a:pt x="335" y="814"/>
                    </a:lnTo>
                    <a:lnTo>
                      <a:pt x="335" y="812"/>
                    </a:lnTo>
                    <a:lnTo>
                      <a:pt x="334" y="814"/>
                    </a:lnTo>
                    <a:lnTo>
                      <a:pt x="335" y="812"/>
                    </a:lnTo>
                    <a:lnTo>
                      <a:pt x="334" y="812"/>
                    </a:lnTo>
                    <a:lnTo>
                      <a:pt x="334" y="809"/>
                    </a:lnTo>
                    <a:lnTo>
                      <a:pt x="335" y="809"/>
                    </a:lnTo>
                    <a:lnTo>
                      <a:pt x="338" y="807"/>
                    </a:lnTo>
                    <a:lnTo>
                      <a:pt x="338" y="809"/>
                    </a:lnTo>
                    <a:lnTo>
                      <a:pt x="340" y="810"/>
                    </a:lnTo>
                    <a:lnTo>
                      <a:pt x="340" y="812"/>
                    </a:lnTo>
                    <a:lnTo>
                      <a:pt x="340" y="810"/>
                    </a:lnTo>
                    <a:lnTo>
                      <a:pt x="338" y="810"/>
                    </a:lnTo>
                    <a:lnTo>
                      <a:pt x="337" y="812"/>
                    </a:lnTo>
                    <a:lnTo>
                      <a:pt x="335" y="812"/>
                    </a:lnTo>
                    <a:lnTo>
                      <a:pt x="340" y="812"/>
                    </a:lnTo>
                    <a:lnTo>
                      <a:pt x="340" y="815"/>
                    </a:lnTo>
                    <a:lnTo>
                      <a:pt x="342" y="815"/>
                    </a:lnTo>
                    <a:lnTo>
                      <a:pt x="343" y="817"/>
                    </a:lnTo>
                    <a:lnTo>
                      <a:pt x="340" y="818"/>
                    </a:lnTo>
                    <a:lnTo>
                      <a:pt x="340" y="820"/>
                    </a:lnTo>
                    <a:lnTo>
                      <a:pt x="347" y="822"/>
                    </a:lnTo>
                    <a:lnTo>
                      <a:pt x="350" y="818"/>
                    </a:lnTo>
                    <a:lnTo>
                      <a:pt x="353" y="820"/>
                    </a:lnTo>
                    <a:lnTo>
                      <a:pt x="352" y="820"/>
                    </a:lnTo>
                    <a:lnTo>
                      <a:pt x="353" y="822"/>
                    </a:lnTo>
                    <a:lnTo>
                      <a:pt x="355" y="822"/>
                    </a:lnTo>
                    <a:lnTo>
                      <a:pt x="355" y="825"/>
                    </a:lnTo>
                    <a:lnTo>
                      <a:pt x="355" y="823"/>
                    </a:lnTo>
                    <a:lnTo>
                      <a:pt x="355" y="825"/>
                    </a:lnTo>
                    <a:lnTo>
                      <a:pt x="357" y="823"/>
                    </a:lnTo>
                    <a:lnTo>
                      <a:pt x="358" y="827"/>
                    </a:lnTo>
                    <a:lnTo>
                      <a:pt x="361" y="832"/>
                    </a:lnTo>
                    <a:lnTo>
                      <a:pt x="355" y="835"/>
                    </a:lnTo>
                    <a:lnTo>
                      <a:pt x="357" y="837"/>
                    </a:lnTo>
                    <a:lnTo>
                      <a:pt x="366" y="827"/>
                    </a:lnTo>
                    <a:lnTo>
                      <a:pt x="370" y="825"/>
                    </a:lnTo>
                    <a:lnTo>
                      <a:pt x="373" y="822"/>
                    </a:lnTo>
                    <a:lnTo>
                      <a:pt x="375" y="822"/>
                    </a:lnTo>
                    <a:lnTo>
                      <a:pt x="378" y="820"/>
                    </a:lnTo>
                    <a:lnTo>
                      <a:pt x="381" y="818"/>
                    </a:lnTo>
                    <a:lnTo>
                      <a:pt x="384" y="818"/>
                    </a:lnTo>
                    <a:lnTo>
                      <a:pt x="393" y="817"/>
                    </a:lnTo>
                    <a:lnTo>
                      <a:pt x="394" y="817"/>
                    </a:lnTo>
                    <a:lnTo>
                      <a:pt x="403" y="817"/>
                    </a:lnTo>
                    <a:lnTo>
                      <a:pt x="404" y="817"/>
                    </a:lnTo>
                    <a:lnTo>
                      <a:pt x="409" y="817"/>
                    </a:lnTo>
                    <a:lnTo>
                      <a:pt x="411" y="817"/>
                    </a:lnTo>
                    <a:lnTo>
                      <a:pt x="419" y="818"/>
                    </a:lnTo>
                    <a:lnTo>
                      <a:pt x="426" y="822"/>
                    </a:lnTo>
                    <a:lnTo>
                      <a:pt x="429" y="815"/>
                    </a:lnTo>
                    <a:lnTo>
                      <a:pt x="427" y="815"/>
                    </a:lnTo>
                    <a:lnTo>
                      <a:pt x="426" y="818"/>
                    </a:lnTo>
                    <a:lnTo>
                      <a:pt x="419" y="817"/>
                    </a:lnTo>
                    <a:lnTo>
                      <a:pt x="421" y="817"/>
                    </a:lnTo>
                    <a:lnTo>
                      <a:pt x="419" y="815"/>
                    </a:lnTo>
                    <a:lnTo>
                      <a:pt x="417" y="812"/>
                    </a:lnTo>
                    <a:lnTo>
                      <a:pt x="412" y="812"/>
                    </a:lnTo>
                    <a:lnTo>
                      <a:pt x="409" y="810"/>
                    </a:lnTo>
                    <a:lnTo>
                      <a:pt x="411" y="807"/>
                    </a:lnTo>
                    <a:lnTo>
                      <a:pt x="407" y="805"/>
                    </a:lnTo>
                    <a:lnTo>
                      <a:pt x="411" y="807"/>
                    </a:lnTo>
                    <a:lnTo>
                      <a:pt x="411" y="809"/>
                    </a:lnTo>
                    <a:lnTo>
                      <a:pt x="409" y="810"/>
                    </a:lnTo>
                    <a:lnTo>
                      <a:pt x="412" y="812"/>
                    </a:lnTo>
                    <a:lnTo>
                      <a:pt x="417" y="810"/>
                    </a:lnTo>
                    <a:lnTo>
                      <a:pt x="419" y="810"/>
                    </a:lnTo>
                    <a:lnTo>
                      <a:pt x="417" y="812"/>
                    </a:lnTo>
                    <a:lnTo>
                      <a:pt x="419" y="812"/>
                    </a:lnTo>
                    <a:lnTo>
                      <a:pt x="421" y="815"/>
                    </a:lnTo>
                    <a:lnTo>
                      <a:pt x="422" y="815"/>
                    </a:lnTo>
                    <a:lnTo>
                      <a:pt x="421" y="814"/>
                    </a:lnTo>
                    <a:lnTo>
                      <a:pt x="422" y="815"/>
                    </a:lnTo>
                    <a:lnTo>
                      <a:pt x="422" y="810"/>
                    </a:lnTo>
                    <a:lnTo>
                      <a:pt x="422" y="812"/>
                    </a:lnTo>
                    <a:lnTo>
                      <a:pt x="424" y="812"/>
                    </a:lnTo>
                    <a:lnTo>
                      <a:pt x="427" y="812"/>
                    </a:lnTo>
                    <a:lnTo>
                      <a:pt x="427" y="815"/>
                    </a:lnTo>
                    <a:lnTo>
                      <a:pt x="429" y="814"/>
                    </a:lnTo>
                    <a:lnTo>
                      <a:pt x="432" y="810"/>
                    </a:lnTo>
                    <a:lnTo>
                      <a:pt x="435" y="809"/>
                    </a:lnTo>
                    <a:lnTo>
                      <a:pt x="445" y="807"/>
                    </a:lnTo>
                    <a:lnTo>
                      <a:pt x="452" y="807"/>
                    </a:lnTo>
                    <a:lnTo>
                      <a:pt x="457" y="809"/>
                    </a:lnTo>
                    <a:lnTo>
                      <a:pt x="467" y="812"/>
                    </a:lnTo>
                    <a:lnTo>
                      <a:pt x="481" y="817"/>
                    </a:lnTo>
                    <a:lnTo>
                      <a:pt x="485" y="818"/>
                    </a:lnTo>
                    <a:lnTo>
                      <a:pt x="490" y="823"/>
                    </a:lnTo>
                    <a:lnTo>
                      <a:pt x="493" y="825"/>
                    </a:lnTo>
                    <a:lnTo>
                      <a:pt x="495" y="825"/>
                    </a:lnTo>
                    <a:lnTo>
                      <a:pt x="496" y="823"/>
                    </a:lnTo>
                    <a:lnTo>
                      <a:pt x="495" y="820"/>
                    </a:lnTo>
                    <a:lnTo>
                      <a:pt x="495" y="823"/>
                    </a:lnTo>
                    <a:lnTo>
                      <a:pt x="493" y="822"/>
                    </a:lnTo>
                    <a:lnTo>
                      <a:pt x="493" y="823"/>
                    </a:lnTo>
                    <a:lnTo>
                      <a:pt x="485" y="818"/>
                    </a:lnTo>
                    <a:lnTo>
                      <a:pt x="486" y="818"/>
                    </a:lnTo>
                    <a:lnTo>
                      <a:pt x="490" y="817"/>
                    </a:lnTo>
                    <a:lnTo>
                      <a:pt x="490" y="815"/>
                    </a:lnTo>
                    <a:lnTo>
                      <a:pt x="491" y="815"/>
                    </a:lnTo>
                    <a:lnTo>
                      <a:pt x="495" y="815"/>
                    </a:lnTo>
                    <a:lnTo>
                      <a:pt x="495" y="812"/>
                    </a:lnTo>
                    <a:lnTo>
                      <a:pt x="498" y="812"/>
                    </a:lnTo>
                    <a:lnTo>
                      <a:pt x="503" y="807"/>
                    </a:lnTo>
                    <a:lnTo>
                      <a:pt x="501" y="805"/>
                    </a:lnTo>
                    <a:lnTo>
                      <a:pt x="498" y="805"/>
                    </a:lnTo>
                    <a:lnTo>
                      <a:pt x="501" y="804"/>
                    </a:lnTo>
                    <a:lnTo>
                      <a:pt x="499" y="802"/>
                    </a:lnTo>
                    <a:lnTo>
                      <a:pt x="503" y="804"/>
                    </a:lnTo>
                    <a:lnTo>
                      <a:pt x="504" y="804"/>
                    </a:lnTo>
                    <a:lnTo>
                      <a:pt x="504" y="800"/>
                    </a:lnTo>
                    <a:lnTo>
                      <a:pt x="503" y="800"/>
                    </a:lnTo>
                    <a:lnTo>
                      <a:pt x="503" y="799"/>
                    </a:lnTo>
                    <a:lnTo>
                      <a:pt x="503" y="797"/>
                    </a:lnTo>
                    <a:lnTo>
                      <a:pt x="499" y="795"/>
                    </a:lnTo>
                    <a:lnTo>
                      <a:pt x="499" y="792"/>
                    </a:lnTo>
                    <a:lnTo>
                      <a:pt x="501" y="792"/>
                    </a:lnTo>
                    <a:lnTo>
                      <a:pt x="501" y="795"/>
                    </a:lnTo>
                    <a:lnTo>
                      <a:pt x="508" y="799"/>
                    </a:lnTo>
                    <a:lnTo>
                      <a:pt x="524" y="794"/>
                    </a:lnTo>
                    <a:lnTo>
                      <a:pt x="526" y="792"/>
                    </a:lnTo>
                    <a:lnTo>
                      <a:pt x="526" y="794"/>
                    </a:lnTo>
                    <a:lnTo>
                      <a:pt x="541" y="791"/>
                    </a:lnTo>
                    <a:lnTo>
                      <a:pt x="550" y="786"/>
                    </a:lnTo>
                    <a:lnTo>
                      <a:pt x="549" y="786"/>
                    </a:lnTo>
                    <a:lnTo>
                      <a:pt x="544" y="781"/>
                    </a:lnTo>
                    <a:lnTo>
                      <a:pt x="544" y="777"/>
                    </a:lnTo>
                    <a:lnTo>
                      <a:pt x="544" y="772"/>
                    </a:lnTo>
                    <a:lnTo>
                      <a:pt x="541" y="772"/>
                    </a:lnTo>
                    <a:lnTo>
                      <a:pt x="541" y="769"/>
                    </a:lnTo>
                    <a:lnTo>
                      <a:pt x="534" y="766"/>
                    </a:lnTo>
                    <a:lnTo>
                      <a:pt x="534" y="764"/>
                    </a:lnTo>
                    <a:lnTo>
                      <a:pt x="532" y="764"/>
                    </a:lnTo>
                    <a:lnTo>
                      <a:pt x="531" y="763"/>
                    </a:lnTo>
                    <a:lnTo>
                      <a:pt x="531" y="761"/>
                    </a:lnTo>
                    <a:lnTo>
                      <a:pt x="534" y="764"/>
                    </a:lnTo>
                    <a:lnTo>
                      <a:pt x="536" y="766"/>
                    </a:lnTo>
                    <a:lnTo>
                      <a:pt x="537" y="766"/>
                    </a:lnTo>
                    <a:lnTo>
                      <a:pt x="539" y="768"/>
                    </a:lnTo>
                    <a:lnTo>
                      <a:pt x="541" y="768"/>
                    </a:lnTo>
                    <a:lnTo>
                      <a:pt x="541" y="772"/>
                    </a:lnTo>
                    <a:lnTo>
                      <a:pt x="544" y="769"/>
                    </a:lnTo>
                    <a:lnTo>
                      <a:pt x="544" y="771"/>
                    </a:lnTo>
                    <a:lnTo>
                      <a:pt x="545" y="772"/>
                    </a:lnTo>
                    <a:lnTo>
                      <a:pt x="545" y="777"/>
                    </a:lnTo>
                    <a:lnTo>
                      <a:pt x="545" y="779"/>
                    </a:lnTo>
                    <a:lnTo>
                      <a:pt x="547" y="781"/>
                    </a:lnTo>
                    <a:lnTo>
                      <a:pt x="545" y="781"/>
                    </a:lnTo>
                    <a:lnTo>
                      <a:pt x="547" y="781"/>
                    </a:lnTo>
                    <a:lnTo>
                      <a:pt x="552" y="781"/>
                    </a:lnTo>
                    <a:lnTo>
                      <a:pt x="565" y="781"/>
                    </a:lnTo>
                    <a:lnTo>
                      <a:pt x="568" y="781"/>
                    </a:lnTo>
                    <a:lnTo>
                      <a:pt x="573" y="771"/>
                    </a:lnTo>
                    <a:lnTo>
                      <a:pt x="580" y="764"/>
                    </a:lnTo>
                    <a:lnTo>
                      <a:pt x="580" y="761"/>
                    </a:lnTo>
                    <a:lnTo>
                      <a:pt x="578" y="764"/>
                    </a:lnTo>
                    <a:lnTo>
                      <a:pt x="578" y="763"/>
                    </a:lnTo>
                    <a:lnTo>
                      <a:pt x="580" y="763"/>
                    </a:lnTo>
                    <a:lnTo>
                      <a:pt x="578" y="761"/>
                    </a:lnTo>
                    <a:lnTo>
                      <a:pt x="577" y="763"/>
                    </a:lnTo>
                    <a:lnTo>
                      <a:pt x="578" y="763"/>
                    </a:lnTo>
                    <a:lnTo>
                      <a:pt x="577" y="763"/>
                    </a:lnTo>
                    <a:lnTo>
                      <a:pt x="578" y="764"/>
                    </a:lnTo>
                    <a:lnTo>
                      <a:pt x="577" y="763"/>
                    </a:lnTo>
                    <a:lnTo>
                      <a:pt x="573" y="763"/>
                    </a:lnTo>
                    <a:lnTo>
                      <a:pt x="575" y="761"/>
                    </a:lnTo>
                    <a:lnTo>
                      <a:pt x="573" y="759"/>
                    </a:lnTo>
                    <a:lnTo>
                      <a:pt x="577" y="759"/>
                    </a:lnTo>
                    <a:lnTo>
                      <a:pt x="575" y="756"/>
                    </a:lnTo>
                    <a:lnTo>
                      <a:pt x="573" y="759"/>
                    </a:lnTo>
                    <a:lnTo>
                      <a:pt x="573" y="758"/>
                    </a:lnTo>
                    <a:lnTo>
                      <a:pt x="570" y="758"/>
                    </a:lnTo>
                    <a:lnTo>
                      <a:pt x="568" y="753"/>
                    </a:lnTo>
                    <a:lnTo>
                      <a:pt x="572" y="751"/>
                    </a:lnTo>
                    <a:lnTo>
                      <a:pt x="568" y="748"/>
                    </a:lnTo>
                    <a:lnTo>
                      <a:pt x="565" y="746"/>
                    </a:lnTo>
                    <a:lnTo>
                      <a:pt x="564" y="749"/>
                    </a:lnTo>
                    <a:lnTo>
                      <a:pt x="565" y="746"/>
                    </a:lnTo>
                    <a:lnTo>
                      <a:pt x="562" y="748"/>
                    </a:lnTo>
                    <a:lnTo>
                      <a:pt x="565" y="746"/>
                    </a:lnTo>
                    <a:lnTo>
                      <a:pt x="557" y="741"/>
                    </a:lnTo>
                    <a:lnTo>
                      <a:pt x="557" y="743"/>
                    </a:lnTo>
                    <a:lnTo>
                      <a:pt x="557" y="741"/>
                    </a:lnTo>
                    <a:lnTo>
                      <a:pt x="554" y="740"/>
                    </a:lnTo>
                    <a:lnTo>
                      <a:pt x="555" y="738"/>
                    </a:lnTo>
                    <a:lnTo>
                      <a:pt x="554" y="738"/>
                    </a:lnTo>
                    <a:lnTo>
                      <a:pt x="552" y="736"/>
                    </a:lnTo>
                    <a:lnTo>
                      <a:pt x="549" y="733"/>
                    </a:lnTo>
                    <a:lnTo>
                      <a:pt x="547" y="731"/>
                    </a:lnTo>
                    <a:lnTo>
                      <a:pt x="549" y="731"/>
                    </a:lnTo>
                    <a:lnTo>
                      <a:pt x="544" y="726"/>
                    </a:lnTo>
                    <a:lnTo>
                      <a:pt x="541" y="721"/>
                    </a:lnTo>
                    <a:lnTo>
                      <a:pt x="541" y="720"/>
                    </a:lnTo>
                    <a:lnTo>
                      <a:pt x="539" y="720"/>
                    </a:lnTo>
                    <a:lnTo>
                      <a:pt x="537" y="720"/>
                    </a:lnTo>
                    <a:lnTo>
                      <a:pt x="539" y="720"/>
                    </a:lnTo>
                    <a:lnTo>
                      <a:pt x="539" y="718"/>
                    </a:lnTo>
                    <a:lnTo>
                      <a:pt x="534" y="717"/>
                    </a:lnTo>
                    <a:lnTo>
                      <a:pt x="529" y="715"/>
                    </a:lnTo>
                    <a:lnTo>
                      <a:pt x="526" y="715"/>
                    </a:lnTo>
                    <a:lnTo>
                      <a:pt x="521" y="710"/>
                    </a:lnTo>
                    <a:lnTo>
                      <a:pt x="518" y="712"/>
                    </a:lnTo>
                    <a:lnTo>
                      <a:pt x="516" y="710"/>
                    </a:lnTo>
                    <a:lnTo>
                      <a:pt x="519" y="712"/>
                    </a:lnTo>
                    <a:lnTo>
                      <a:pt x="521" y="710"/>
                    </a:lnTo>
                    <a:lnTo>
                      <a:pt x="521" y="707"/>
                    </a:lnTo>
                    <a:lnTo>
                      <a:pt x="522" y="710"/>
                    </a:lnTo>
                    <a:lnTo>
                      <a:pt x="521" y="705"/>
                    </a:lnTo>
                    <a:lnTo>
                      <a:pt x="521" y="703"/>
                    </a:lnTo>
                    <a:lnTo>
                      <a:pt x="519" y="702"/>
                    </a:lnTo>
                    <a:lnTo>
                      <a:pt x="521" y="702"/>
                    </a:lnTo>
                    <a:lnTo>
                      <a:pt x="522" y="705"/>
                    </a:lnTo>
                    <a:lnTo>
                      <a:pt x="526" y="712"/>
                    </a:lnTo>
                    <a:lnTo>
                      <a:pt x="531" y="715"/>
                    </a:lnTo>
                    <a:lnTo>
                      <a:pt x="534" y="712"/>
                    </a:lnTo>
                    <a:lnTo>
                      <a:pt x="542" y="717"/>
                    </a:lnTo>
                    <a:lnTo>
                      <a:pt x="544" y="718"/>
                    </a:lnTo>
                    <a:lnTo>
                      <a:pt x="547" y="718"/>
                    </a:lnTo>
                    <a:lnTo>
                      <a:pt x="547" y="721"/>
                    </a:lnTo>
                    <a:lnTo>
                      <a:pt x="549" y="720"/>
                    </a:lnTo>
                    <a:lnTo>
                      <a:pt x="550" y="726"/>
                    </a:lnTo>
                    <a:lnTo>
                      <a:pt x="550" y="723"/>
                    </a:lnTo>
                    <a:lnTo>
                      <a:pt x="549" y="721"/>
                    </a:lnTo>
                    <a:lnTo>
                      <a:pt x="550" y="723"/>
                    </a:lnTo>
                    <a:lnTo>
                      <a:pt x="552" y="720"/>
                    </a:lnTo>
                    <a:lnTo>
                      <a:pt x="550" y="718"/>
                    </a:lnTo>
                    <a:lnTo>
                      <a:pt x="552" y="718"/>
                    </a:lnTo>
                    <a:lnTo>
                      <a:pt x="552" y="713"/>
                    </a:lnTo>
                    <a:lnTo>
                      <a:pt x="555" y="710"/>
                    </a:lnTo>
                    <a:lnTo>
                      <a:pt x="552" y="708"/>
                    </a:lnTo>
                    <a:lnTo>
                      <a:pt x="552" y="707"/>
                    </a:lnTo>
                    <a:lnTo>
                      <a:pt x="552" y="705"/>
                    </a:lnTo>
                    <a:lnTo>
                      <a:pt x="554" y="705"/>
                    </a:lnTo>
                    <a:lnTo>
                      <a:pt x="555" y="698"/>
                    </a:lnTo>
                    <a:lnTo>
                      <a:pt x="555" y="697"/>
                    </a:lnTo>
                    <a:lnTo>
                      <a:pt x="557" y="697"/>
                    </a:lnTo>
                    <a:lnTo>
                      <a:pt x="555" y="700"/>
                    </a:lnTo>
                    <a:lnTo>
                      <a:pt x="555" y="705"/>
                    </a:lnTo>
                    <a:lnTo>
                      <a:pt x="552" y="707"/>
                    </a:lnTo>
                    <a:lnTo>
                      <a:pt x="554" y="708"/>
                    </a:lnTo>
                    <a:lnTo>
                      <a:pt x="555" y="707"/>
                    </a:lnTo>
                    <a:lnTo>
                      <a:pt x="559" y="710"/>
                    </a:lnTo>
                    <a:lnTo>
                      <a:pt x="557" y="712"/>
                    </a:lnTo>
                    <a:lnTo>
                      <a:pt x="554" y="713"/>
                    </a:lnTo>
                    <a:lnTo>
                      <a:pt x="554" y="718"/>
                    </a:lnTo>
                    <a:lnTo>
                      <a:pt x="554" y="720"/>
                    </a:lnTo>
                    <a:lnTo>
                      <a:pt x="554" y="721"/>
                    </a:lnTo>
                    <a:lnTo>
                      <a:pt x="557" y="725"/>
                    </a:lnTo>
                    <a:lnTo>
                      <a:pt x="560" y="728"/>
                    </a:lnTo>
                    <a:lnTo>
                      <a:pt x="565" y="733"/>
                    </a:lnTo>
                    <a:lnTo>
                      <a:pt x="568" y="736"/>
                    </a:lnTo>
                    <a:lnTo>
                      <a:pt x="573" y="741"/>
                    </a:lnTo>
                    <a:lnTo>
                      <a:pt x="580" y="744"/>
                    </a:lnTo>
                    <a:lnTo>
                      <a:pt x="577" y="741"/>
                    </a:lnTo>
                    <a:lnTo>
                      <a:pt x="578" y="741"/>
                    </a:lnTo>
                    <a:lnTo>
                      <a:pt x="578" y="736"/>
                    </a:lnTo>
                    <a:lnTo>
                      <a:pt x="580" y="735"/>
                    </a:lnTo>
                    <a:lnTo>
                      <a:pt x="578" y="731"/>
                    </a:lnTo>
                    <a:lnTo>
                      <a:pt x="577" y="731"/>
                    </a:lnTo>
                    <a:lnTo>
                      <a:pt x="578" y="730"/>
                    </a:lnTo>
                    <a:lnTo>
                      <a:pt x="578" y="731"/>
                    </a:lnTo>
                    <a:lnTo>
                      <a:pt x="578" y="730"/>
                    </a:lnTo>
                    <a:lnTo>
                      <a:pt x="582" y="730"/>
                    </a:lnTo>
                    <a:lnTo>
                      <a:pt x="580" y="730"/>
                    </a:lnTo>
                    <a:lnTo>
                      <a:pt x="583" y="728"/>
                    </a:lnTo>
                    <a:lnTo>
                      <a:pt x="582" y="726"/>
                    </a:lnTo>
                    <a:lnTo>
                      <a:pt x="585" y="720"/>
                    </a:lnTo>
                    <a:lnTo>
                      <a:pt x="587" y="721"/>
                    </a:lnTo>
                    <a:lnTo>
                      <a:pt x="588" y="718"/>
                    </a:lnTo>
                    <a:lnTo>
                      <a:pt x="590" y="718"/>
                    </a:lnTo>
                    <a:lnTo>
                      <a:pt x="596" y="717"/>
                    </a:lnTo>
                    <a:lnTo>
                      <a:pt x="596" y="715"/>
                    </a:lnTo>
                    <a:lnTo>
                      <a:pt x="595" y="712"/>
                    </a:lnTo>
                    <a:lnTo>
                      <a:pt x="596" y="715"/>
                    </a:lnTo>
                    <a:lnTo>
                      <a:pt x="598" y="715"/>
                    </a:lnTo>
                    <a:lnTo>
                      <a:pt x="600" y="715"/>
                    </a:lnTo>
                    <a:lnTo>
                      <a:pt x="598" y="715"/>
                    </a:lnTo>
                    <a:lnTo>
                      <a:pt x="595" y="718"/>
                    </a:lnTo>
                    <a:lnTo>
                      <a:pt x="588" y="718"/>
                    </a:lnTo>
                    <a:lnTo>
                      <a:pt x="587" y="721"/>
                    </a:lnTo>
                    <a:lnTo>
                      <a:pt x="582" y="726"/>
                    </a:lnTo>
                    <a:lnTo>
                      <a:pt x="585" y="728"/>
                    </a:lnTo>
                    <a:lnTo>
                      <a:pt x="582" y="731"/>
                    </a:lnTo>
                    <a:lnTo>
                      <a:pt x="580" y="736"/>
                    </a:lnTo>
                    <a:lnTo>
                      <a:pt x="580" y="743"/>
                    </a:lnTo>
                    <a:lnTo>
                      <a:pt x="582" y="744"/>
                    </a:lnTo>
                    <a:lnTo>
                      <a:pt x="580" y="748"/>
                    </a:lnTo>
                    <a:lnTo>
                      <a:pt x="583" y="751"/>
                    </a:lnTo>
                    <a:lnTo>
                      <a:pt x="595" y="758"/>
                    </a:lnTo>
                    <a:lnTo>
                      <a:pt x="601" y="763"/>
                    </a:lnTo>
                    <a:lnTo>
                      <a:pt x="603" y="763"/>
                    </a:lnTo>
                    <a:lnTo>
                      <a:pt x="608" y="764"/>
                    </a:lnTo>
                    <a:lnTo>
                      <a:pt x="611" y="766"/>
                    </a:lnTo>
                    <a:lnTo>
                      <a:pt x="613" y="768"/>
                    </a:lnTo>
                    <a:lnTo>
                      <a:pt x="614" y="769"/>
                    </a:lnTo>
                    <a:lnTo>
                      <a:pt x="619" y="774"/>
                    </a:lnTo>
                    <a:lnTo>
                      <a:pt x="623" y="777"/>
                    </a:lnTo>
                    <a:lnTo>
                      <a:pt x="626" y="779"/>
                    </a:lnTo>
                    <a:lnTo>
                      <a:pt x="631" y="781"/>
                    </a:lnTo>
                    <a:lnTo>
                      <a:pt x="636" y="784"/>
                    </a:lnTo>
                    <a:lnTo>
                      <a:pt x="639" y="787"/>
                    </a:lnTo>
                    <a:lnTo>
                      <a:pt x="642" y="784"/>
                    </a:lnTo>
                    <a:lnTo>
                      <a:pt x="646" y="781"/>
                    </a:lnTo>
                    <a:lnTo>
                      <a:pt x="647" y="781"/>
                    </a:lnTo>
                    <a:lnTo>
                      <a:pt x="647" y="779"/>
                    </a:lnTo>
                    <a:lnTo>
                      <a:pt x="649" y="779"/>
                    </a:lnTo>
                    <a:lnTo>
                      <a:pt x="649" y="777"/>
                    </a:lnTo>
                    <a:lnTo>
                      <a:pt x="647" y="779"/>
                    </a:lnTo>
                    <a:lnTo>
                      <a:pt x="644" y="777"/>
                    </a:lnTo>
                    <a:lnTo>
                      <a:pt x="641" y="781"/>
                    </a:lnTo>
                    <a:lnTo>
                      <a:pt x="639" y="781"/>
                    </a:lnTo>
                    <a:lnTo>
                      <a:pt x="642" y="779"/>
                    </a:lnTo>
                    <a:lnTo>
                      <a:pt x="641" y="777"/>
                    </a:lnTo>
                    <a:lnTo>
                      <a:pt x="642" y="777"/>
                    </a:lnTo>
                    <a:lnTo>
                      <a:pt x="644" y="777"/>
                    </a:lnTo>
                    <a:lnTo>
                      <a:pt x="646" y="777"/>
                    </a:lnTo>
                    <a:lnTo>
                      <a:pt x="647" y="776"/>
                    </a:lnTo>
                    <a:lnTo>
                      <a:pt x="646" y="772"/>
                    </a:lnTo>
                    <a:lnTo>
                      <a:pt x="646" y="769"/>
                    </a:lnTo>
                    <a:lnTo>
                      <a:pt x="644" y="771"/>
                    </a:lnTo>
                    <a:lnTo>
                      <a:pt x="642" y="771"/>
                    </a:lnTo>
                    <a:lnTo>
                      <a:pt x="641" y="771"/>
                    </a:lnTo>
                    <a:lnTo>
                      <a:pt x="641" y="769"/>
                    </a:lnTo>
                    <a:lnTo>
                      <a:pt x="646" y="769"/>
                    </a:lnTo>
                    <a:lnTo>
                      <a:pt x="642" y="766"/>
                    </a:lnTo>
                    <a:lnTo>
                      <a:pt x="639" y="763"/>
                    </a:lnTo>
                    <a:lnTo>
                      <a:pt x="637" y="758"/>
                    </a:lnTo>
                    <a:lnTo>
                      <a:pt x="633" y="759"/>
                    </a:lnTo>
                    <a:lnTo>
                      <a:pt x="636" y="758"/>
                    </a:lnTo>
                    <a:lnTo>
                      <a:pt x="636" y="754"/>
                    </a:lnTo>
                    <a:lnTo>
                      <a:pt x="633" y="751"/>
                    </a:lnTo>
                    <a:lnTo>
                      <a:pt x="629" y="753"/>
                    </a:lnTo>
                    <a:lnTo>
                      <a:pt x="629" y="751"/>
                    </a:lnTo>
                    <a:lnTo>
                      <a:pt x="626" y="751"/>
                    </a:lnTo>
                    <a:lnTo>
                      <a:pt x="626" y="749"/>
                    </a:lnTo>
                    <a:lnTo>
                      <a:pt x="626" y="746"/>
                    </a:lnTo>
                    <a:lnTo>
                      <a:pt x="626" y="744"/>
                    </a:lnTo>
                    <a:lnTo>
                      <a:pt x="629" y="744"/>
                    </a:lnTo>
                    <a:lnTo>
                      <a:pt x="629" y="743"/>
                    </a:lnTo>
                    <a:lnTo>
                      <a:pt x="628" y="741"/>
                    </a:lnTo>
                    <a:lnTo>
                      <a:pt x="629" y="743"/>
                    </a:lnTo>
                    <a:lnTo>
                      <a:pt x="629" y="746"/>
                    </a:lnTo>
                    <a:lnTo>
                      <a:pt x="626" y="746"/>
                    </a:lnTo>
                    <a:lnTo>
                      <a:pt x="628" y="749"/>
                    </a:lnTo>
                    <a:lnTo>
                      <a:pt x="634" y="748"/>
                    </a:lnTo>
                    <a:lnTo>
                      <a:pt x="634" y="749"/>
                    </a:lnTo>
                    <a:lnTo>
                      <a:pt x="639" y="751"/>
                    </a:lnTo>
                    <a:lnTo>
                      <a:pt x="642" y="751"/>
                    </a:lnTo>
                    <a:lnTo>
                      <a:pt x="649" y="753"/>
                    </a:lnTo>
                    <a:lnTo>
                      <a:pt x="647" y="748"/>
                    </a:lnTo>
                    <a:lnTo>
                      <a:pt x="649" y="748"/>
                    </a:lnTo>
                    <a:lnTo>
                      <a:pt x="647" y="746"/>
                    </a:lnTo>
                    <a:lnTo>
                      <a:pt x="649" y="746"/>
                    </a:lnTo>
                    <a:lnTo>
                      <a:pt x="652" y="746"/>
                    </a:lnTo>
                    <a:lnTo>
                      <a:pt x="651" y="751"/>
                    </a:lnTo>
                    <a:lnTo>
                      <a:pt x="656" y="754"/>
                    </a:lnTo>
                    <a:lnTo>
                      <a:pt x="657" y="754"/>
                    </a:lnTo>
                    <a:lnTo>
                      <a:pt x="657" y="756"/>
                    </a:lnTo>
                    <a:lnTo>
                      <a:pt x="660" y="751"/>
                    </a:lnTo>
                    <a:lnTo>
                      <a:pt x="662" y="751"/>
                    </a:lnTo>
                    <a:lnTo>
                      <a:pt x="660" y="753"/>
                    </a:lnTo>
                    <a:lnTo>
                      <a:pt x="659" y="756"/>
                    </a:lnTo>
                    <a:lnTo>
                      <a:pt x="659" y="758"/>
                    </a:lnTo>
                    <a:lnTo>
                      <a:pt x="656" y="756"/>
                    </a:lnTo>
                    <a:lnTo>
                      <a:pt x="654" y="758"/>
                    </a:lnTo>
                    <a:lnTo>
                      <a:pt x="656" y="763"/>
                    </a:lnTo>
                    <a:lnTo>
                      <a:pt x="656" y="764"/>
                    </a:lnTo>
                    <a:lnTo>
                      <a:pt x="654" y="766"/>
                    </a:lnTo>
                    <a:lnTo>
                      <a:pt x="657" y="766"/>
                    </a:lnTo>
                    <a:lnTo>
                      <a:pt x="656" y="768"/>
                    </a:lnTo>
                    <a:lnTo>
                      <a:pt x="652" y="766"/>
                    </a:lnTo>
                    <a:lnTo>
                      <a:pt x="652" y="769"/>
                    </a:lnTo>
                    <a:lnTo>
                      <a:pt x="649" y="768"/>
                    </a:lnTo>
                    <a:lnTo>
                      <a:pt x="649" y="772"/>
                    </a:lnTo>
                    <a:lnTo>
                      <a:pt x="651" y="774"/>
                    </a:lnTo>
                    <a:lnTo>
                      <a:pt x="651" y="777"/>
                    </a:lnTo>
                    <a:lnTo>
                      <a:pt x="651" y="776"/>
                    </a:lnTo>
                    <a:lnTo>
                      <a:pt x="651" y="777"/>
                    </a:lnTo>
                    <a:lnTo>
                      <a:pt x="652" y="781"/>
                    </a:lnTo>
                    <a:lnTo>
                      <a:pt x="657" y="784"/>
                    </a:lnTo>
                    <a:lnTo>
                      <a:pt x="660" y="784"/>
                    </a:lnTo>
                    <a:lnTo>
                      <a:pt x="662" y="784"/>
                    </a:lnTo>
                    <a:lnTo>
                      <a:pt x="665" y="782"/>
                    </a:lnTo>
                    <a:lnTo>
                      <a:pt x="670" y="781"/>
                    </a:lnTo>
                    <a:lnTo>
                      <a:pt x="674" y="781"/>
                    </a:lnTo>
                    <a:lnTo>
                      <a:pt x="679" y="779"/>
                    </a:lnTo>
                    <a:lnTo>
                      <a:pt x="677" y="774"/>
                    </a:lnTo>
                    <a:lnTo>
                      <a:pt x="677" y="777"/>
                    </a:lnTo>
                    <a:lnTo>
                      <a:pt x="674" y="777"/>
                    </a:lnTo>
                    <a:lnTo>
                      <a:pt x="675" y="776"/>
                    </a:lnTo>
                    <a:lnTo>
                      <a:pt x="675" y="772"/>
                    </a:lnTo>
                    <a:lnTo>
                      <a:pt x="674" y="768"/>
                    </a:lnTo>
                    <a:lnTo>
                      <a:pt x="674" y="764"/>
                    </a:lnTo>
                    <a:lnTo>
                      <a:pt x="674" y="754"/>
                    </a:lnTo>
                    <a:lnTo>
                      <a:pt x="669" y="754"/>
                    </a:lnTo>
                    <a:lnTo>
                      <a:pt x="667" y="753"/>
                    </a:lnTo>
                    <a:lnTo>
                      <a:pt x="669" y="753"/>
                    </a:lnTo>
                    <a:lnTo>
                      <a:pt x="674" y="754"/>
                    </a:lnTo>
                    <a:lnTo>
                      <a:pt x="675" y="753"/>
                    </a:lnTo>
                    <a:lnTo>
                      <a:pt x="677" y="756"/>
                    </a:lnTo>
                    <a:lnTo>
                      <a:pt x="680" y="758"/>
                    </a:lnTo>
                    <a:lnTo>
                      <a:pt x="680" y="754"/>
                    </a:lnTo>
                    <a:lnTo>
                      <a:pt x="680" y="753"/>
                    </a:lnTo>
                    <a:lnTo>
                      <a:pt x="685" y="753"/>
                    </a:lnTo>
                    <a:lnTo>
                      <a:pt x="680" y="751"/>
                    </a:lnTo>
                    <a:lnTo>
                      <a:pt x="682" y="751"/>
                    </a:lnTo>
                    <a:lnTo>
                      <a:pt x="682" y="748"/>
                    </a:lnTo>
                    <a:lnTo>
                      <a:pt x="687" y="748"/>
                    </a:lnTo>
                    <a:lnTo>
                      <a:pt x="687" y="744"/>
                    </a:lnTo>
                    <a:lnTo>
                      <a:pt x="688" y="743"/>
                    </a:lnTo>
                    <a:lnTo>
                      <a:pt x="688" y="746"/>
                    </a:lnTo>
                    <a:lnTo>
                      <a:pt x="690" y="746"/>
                    </a:lnTo>
                    <a:lnTo>
                      <a:pt x="688" y="748"/>
                    </a:lnTo>
                    <a:lnTo>
                      <a:pt x="690" y="749"/>
                    </a:lnTo>
                    <a:lnTo>
                      <a:pt x="693" y="751"/>
                    </a:lnTo>
                    <a:lnTo>
                      <a:pt x="693" y="749"/>
                    </a:lnTo>
                    <a:lnTo>
                      <a:pt x="695" y="753"/>
                    </a:lnTo>
                    <a:lnTo>
                      <a:pt x="697" y="749"/>
                    </a:lnTo>
                    <a:lnTo>
                      <a:pt x="703" y="749"/>
                    </a:lnTo>
                    <a:lnTo>
                      <a:pt x="705" y="748"/>
                    </a:lnTo>
                    <a:lnTo>
                      <a:pt x="710" y="749"/>
                    </a:lnTo>
                    <a:lnTo>
                      <a:pt x="710" y="748"/>
                    </a:lnTo>
                    <a:lnTo>
                      <a:pt x="711" y="748"/>
                    </a:lnTo>
                    <a:lnTo>
                      <a:pt x="711" y="746"/>
                    </a:lnTo>
                    <a:lnTo>
                      <a:pt x="711" y="744"/>
                    </a:lnTo>
                    <a:lnTo>
                      <a:pt x="711" y="743"/>
                    </a:lnTo>
                    <a:lnTo>
                      <a:pt x="715" y="736"/>
                    </a:lnTo>
                    <a:lnTo>
                      <a:pt x="710" y="731"/>
                    </a:lnTo>
                    <a:lnTo>
                      <a:pt x="703" y="721"/>
                    </a:lnTo>
                    <a:lnTo>
                      <a:pt x="706" y="715"/>
                    </a:lnTo>
                    <a:lnTo>
                      <a:pt x="710" y="707"/>
                    </a:lnTo>
                    <a:lnTo>
                      <a:pt x="715" y="703"/>
                    </a:lnTo>
                    <a:lnTo>
                      <a:pt x="713" y="700"/>
                    </a:lnTo>
                    <a:lnTo>
                      <a:pt x="713" y="697"/>
                    </a:lnTo>
                    <a:lnTo>
                      <a:pt x="711" y="694"/>
                    </a:lnTo>
                    <a:lnTo>
                      <a:pt x="708" y="692"/>
                    </a:lnTo>
                    <a:lnTo>
                      <a:pt x="713" y="692"/>
                    </a:lnTo>
                    <a:lnTo>
                      <a:pt x="715" y="687"/>
                    </a:lnTo>
                    <a:lnTo>
                      <a:pt x="713" y="684"/>
                    </a:lnTo>
                    <a:lnTo>
                      <a:pt x="718" y="677"/>
                    </a:lnTo>
                    <a:lnTo>
                      <a:pt x="718" y="672"/>
                    </a:lnTo>
                    <a:lnTo>
                      <a:pt x="721" y="662"/>
                    </a:lnTo>
                    <a:lnTo>
                      <a:pt x="723" y="661"/>
                    </a:lnTo>
                    <a:lnTo>
                      <a:pt x="726" y="659"/>
                    </a:lnTo>
                    <a:lnTo>
                      <a:pt x="725" y="651"/>
                    </a:lnTo>
                    <a:lnTo>
                      <a:pt x="726" y="647"/>
                    </a:lnTo>
                    <a:lnTo>
                      <a:pt x="729" y="646"/>
                    </a:lnTo>
                    <a:lnTo>
                      <a:pt x="734" y="641"/>
                    </a:lnTo>
                    <a:lnTo>
                      <a:pt x="736" y="638"/>
                    </a:lnTo>
                    <a:lnTo>
                      <a:pt x="741" y="636"/>
                    </a:lnTo>
                    <a:lnTo>
                      <a:pt x="741" y="629"/>
                    </a:lnTo>
                    <a:lnTo>
                      <a:pt x="741" y="628"/>
                    </a:lnTo>
                    <a:lnTo>
                      <a:pt x="746" y="623"/>
                    </a:lnTo>
                    <a:lnTo>
                      <a:pt x="749" y="623"/>
                    </a:lnTo>
                    <a:lnTo>
                      <a:pt x="749" y="626"/>
                    </a:lnTo>
                    <a:lnTo>
                      <a:pt x="752" y="626"/>
                    </a:lnTo>
                    <a:lnTo>
                      <a:pt x="754" y="623"/>
                    </a:lnTo>
                    <a:lnTo>
                      <a:pt x="754" y="626"/>
                    </a:lnTo>
                    <a:lnTo>
                      <a:pt x="759" y="626"/>
                    </a:lnTo>
                    <a:lnTo>
                      <a:pt x="759" y="624"/>
                    </a:lnTo>
                    <a:lnTo>
                      <a:pt x="764" y="624"/>
                    </a:lnTo>
                    <a:lnTo>
                      <a:pt x="767" y="628"/>
                    </a:lnTo>
                    <a:lnTo>
                      <a:pt x="767" y="631"/>
                    </a:lnTo>
                    <a:lnTo>
                      <a:pt x="771" y="636"/>
                    </a:lnTo>
                    <a:lnTo>
                      <a:pt x="772" y="641"/>
                    </a:lnTo>
                    <a:lnTo>
                      <a:pt x="775" y="647"/>
                    </a:lnTo>
                    <a:lnTo>
                      <a:pt x="784" y="646"/>
                    </a:lnTo>
                    <a:lnTo>
                      <a:pt x="789" y="649"/>
                    </a:lnTo>
                    <a:lnTo>
                      <a:pt x="792" y="649"/>
                    </a:lnTo>
                    <a:lnTo>
                      <a:pt x="792" y="646"/>
                    </a:lnTo>
                    <a:lnTo>
                      <a:pt x="797" y="646"/>
                    </a:lnTo>
                    <a:lnTo>
                      <a:pt x="795" y="641"/>
                    </a:lnTo>
                    <a:lnTo>
                      <a:pt x="798" y="639"/>
                    </a:lnTo>
                    <a:lnTo>
                      <a:pt x="803" y="651"/>
                    </a:lnTo>
                    <a:lnTo>
                      <a:pt x="810" y="651"/>
                    </a:lnTo>
                    <a:lnTo>
                      <a:pt x="813" y="649"/>
                    </a:lnTo>
                    <a:lnTo>
                      <a:pt x="817" y="651"/>
                    </a:lnTo>
                    <a:lnTo>
                      <a:pt x="817" y="649"/>
                    </a:lnTo>
                    <a:lnTo>
                      <a:pt x="813" y="641"/>
                    </a:lnTo>
                    <a:lnTo>
                      <a:pt x="818" y="641"/>
                    </a:lnTo>
                    <a:lnTo>
                      <a:pt x="820" y="636"/>
                    </a:lnTo>
                    <a:lnTo>
                      <a:pt x="823" y="638"/>
                    </a:lnTo>
                    <a:lnTo>
                      <a:pt x="825" y="634"/>
                    </a:lnTo>
                    <a:lnTo>
                      <a:pt x="826" y="636"/>
                    </a:lnTo>
                    <a:lnTo>
                      <a:pt x="825" y="633"/>
                    </a:lnTo>
                    <a:lnTo>
                      <a:pt x="825" y="631"/>
                    </a:lnTo>
                    <a:lnTo>
                      <a:pt x="833" y="629"/>
                    </a:lnTo>
                    <a:lnTo>
                      <a:pt x="833" y="628"/>
                    </a:lnTo>
                    <a:lnTo>
                      <a:pt x="828" y="628"/>
                    </a:lnTo>
                    <a:lnTo>
                      <a:pt x="826" y="623"/>
                    </a:lnTo>
                    <a:lnTo>
                      <a:pt x="818" y="624"/>
                    </a:lnTo>
                    <a:lnTo>
                      <a:pt x="817" y="620"/>
                    </a:lnTo>
                    <a:lnTo>
                      <a:pt x="818" y="611"/>
                    </a:lnTo>
                    <a:lnTo>
                      <a:pt x="820" y="611"/>
                    </a:lnTo>
                    <a:lnTo>
                      <a:pt x="828" y="616"/>
                    </a:lnTo>
                    <a:lnTo>
                      <a:pt x="836" y="613"/>
                    </a:lnTo>
                    <a:lnTo>
                      <a:pt x="844" y="613"/>
                    </a:lnTo>
                    <a:lnTo>
                      <a:pt x="851" y="615"/>
                    </a:lnTo>
                    <a:lnTo>
                      <a:pt x="851" y="608"/>
                    </a:lnTo>
                    <a:lnTo>
                      <a:pt x="854" y="610"/>
                    </a:lnTo>
                    <a:lnTo>
                      <a:pt x="854" y="611"/>
                    </a:lnTo>
                    <a:lnTo>
                      <a:pt x="856" y="610"/>
                    </a:lnTo>
                    <a:lnTo>
                      <a:pt x="863" y="611"/>
                    </a:lnTo>
                    <a:lnTo>
                      <a:pt x="867" y="608"/>
                    </a:lnTo>
                    <a:lnTo>
                      <a:pt x="867" y="606"/>
                    </a:lnTo>
                    <a:lnTo>
                      <a:pt x="884" y="605"/>
                    </a:lnTo>
                    <a:lnTo>
                      <a:pt x="886" y="605"/>
                    </a:lnTo>
                    <a:lnTo>
                      <a:pt x="884" y="605"/>
                    </a:lnTo>
                    <a:lnTo>
                      <a:pt x="884" y="606"/>
                    </a:lnTo>
                    <a:lnTo>
                      <a:pt x="892" y="601"/>
                    </a:lnTo>
                    <a:lnTo>
                      <a:pt x="899" y="600"/>
                    </a:lnTo>
                    <a:lnTo>
                      <a:pt x="902" y="595"/>
                    </a:lnTo>
                    <a:lnTo>
                      <a:pt x="904" y="597"/>
                    </a:lnTo>
                    <a:lnTo>
                      <a:pt x="913" y="593"/>
                    </a:lnTo>
                    <a:lnTo>
                      <a:pt x="915" y="595"/>
                    </a:lnTo>
                    <a:lnTo>
                      <a:pt x="920" y="593"/>
                    </a:lnTo>
                    <a:lnTo>
                      <a:pt x="925" y="590"/>
                    </a:lnTo>
                    <a:lnTo>
                      <a:pt x="927" y="592"/>
                    </a:lnTo>
                    <a:lnTo>
                      <a:pt x="935" y="590"/>
                    </a:lnTo>
                    <a:lnTo>
                      <a:pt x="938" y="588"/>
                    </a:lnTo>
                    <a:lnTo>
                      <a:pt x="943" y="588"/>
                    </a:lnTo>
                    <a:lnTo>
                      <a:pt x="950" y="583"/>
                    </a:lnTo>
                    <a:lnTo>
                      <a:pt x="950" y="580"/>
                    </a:lnTo>
                    <a:lnTo>
                      <a:pt x="959" y="580"/>
                    </a:lnTo>
                    <a:lnTo>
                      <a:pt x="959" y="578"/>
                    </a:lnTo>
                    <a:lnTo>
                      <a:pt x="964" y="578"/>
                    </a:lnTo>
                    <a:lnTo>
                      <a:pt x="964" y="573"/>
                    </a:lnTo>
                    <a:lnTo>
                      <a:pt x="968" y="573"/>
                    </a:lnTo>
                    <a:lnTo>
                      <a:pt x="971" y="570"/>
                    </a:lnTo>
                    <a:lnTo>
                      <a:pt x="974" y="570"/>
                    </a:lnTo>
                    <a:lnTo>
                      <a:pt x="974" y="569"/>
                    </a:lnTo>
                    <a:lnTo>
                      <a:pt x="978" y="567"/>
                    </a:lnTo>
                    <a:lnTo>
                      <a:pt x="976" y="564"/>
                    </a:lnTo>
                    <a:lnTo>
                      <a:pt x="973" y="560"/>
                    </a:lnTo>
                    <a:lnTo>
                      <a:pt x="973" y="559"/>
                    </a:lnTo>
                    <a:lnTo>
                      <a:pt x="969" y="559"/>
                    </a:lnTo>
                    <a:lnTo>
                      <a:pt x="971" y="562"/>
                    </a:lnTo>
                    <a:lnTo>
                      <a:pt x="966" y="564"/>
                    </a:lnTo>
                    <a:lnTo>
                      <a:pt x="963" y="562"/>
                    </a:lnTo>
                    <a:lnTo>
                      <a:pt x="961" y="564"/>
                    </a:lnTo>
                    <a:lnTo>
                      <a:pt x="956" y="557"/>
                    </a:lnTo>
                    <a:lnTo>
                      <a:pt x="955" y="559"/>
                    </a:lnTo>
                    <a:lnTo>
                      <a:pt x="953" y="555"/>
                    </a:lnTo>
                    <a:lnTo>
                      <a:pt x="956" y="555"/>
                    </a:lnTo>
                    <a:lnTo>
                      <a:pt x="958" y="557"/>
                    </a:lnTo>
                    <a:lnTo>
                      <a:pt x="959" y="555"/>
                    </a:lnTo>
                    <a:lnTo>
                      <a:pt x="959" y="554"/>
                    </a:lnTo>
                    <a:lnTo>
                      <a:pt x="961" y="554"/>
                    </a:lnTo>
                    <a:lnTo>
                      <a:pt x="964" y="552"/>
                    </a:lnTo>
                    <a:lnTo>
                      <a:pt x="963" y="547"/>
                    </a:lnTo>
                    <a:lnTo>
                      <a:pt x="961" y="550"/>
                    </a:lnTo>
                    <a:lnTo>
                      <a:pt x="961" y="549"/>
                    </a:lnTo>
                    <a:lnTo>
                      <a:pt x="961" y="547"/>
                    </a:lnTo>
                    <a:lnTo>
                      <a:pt x="959" y="546"/>
                    </a:lnTo>
                    <a:lnTo>
                      <a:pt x="958" y="547"/>
                    </a:lnTo>
                    <a:lnTo>
                      <a:pt x="956" y="546"/>
                    </a:lnTo>
                    <a:lnTo>
                      <a:pt x="961" y="542"/>
                    </a:lnTo>
                    <a:lnTo>
                      <a:pt x="958" y="541"/>
                    </a:lnTo>
                    <a:lnTo>
                      <a:pt x="958" y="539"/>
                    </a:lnTo>
                    <a:lnTo>
                      <a:pt x="956" y="536"/>
                    </a:lnTo>
                    <a:lnTo>
                      <a:pt x="953" y="536"/>
                    </a:lnTo>
                    <a:lnTo>
                      <a:pt x="951" y="531"/>
                    </a:lnTo>
                    <a:lnTo>
                      <a:pt x="953" y="529"/>
                    </a:lnTo>
                    <a:lnTo>
                      <a:pt x="958" y="526"/>
                    </a:lnTo>
                    <a:lnTo>
                      <a:pt x="959" y="523"/>
                    </a:lnTo>
                    <a:lnTo>
                      <a:pt x="959" y="521"/>
                    </a:lnTo>
                    <a:lnTo>
                      <a:pt x="958" y="521"/>
                    </a:lnTo>
                    <a:lnTo>
                      <a:pt x="959" y="518"/>
                    </a:lnTo>
                    <a:lnTo>
                      <a:pt x="963" y="518"/>
                    </a:lnTo>
                    <a:lnTo>
                      <a:pt x="968" y="519"/>
                    </a:lnTo>
                    <a:lnTo>
                      <a:pt x="969" y="518"/>
                    </a:lnTo>
                    <a:lnTo>
                      <a:pt x="971" y="516"/>
                    </a:lnTo>
                    <a:lnTo>
                      <a:pt x="969" y="514"/>
                    </a:lnTo>
                    <a:lnTo>
                      <a:pt x="974" y="509"/>
                    </a:lnTo>
                    <a:lnTo>
                      <a:pt x="979" y="506"/>
                    </a:lnTo>
                    <a:lnTo>
                      <a:pt x="984" y="504"/>
                    </a:lnTo>
                    <a:lnTo>
                      <a:pt x="986" y="501"/>
                    </a:lnTo>
                    <a:lnTo>
                      <a:pt x="984" y="500"/>
                    </a:lnTo>
                    <a:lnTo>
                      <a:pt x="982" y="501"/>
                    </a:lnTo>
                    <a:lnTo>
                      <a:pt x="984" y="498"/>
                    </a:lnTo>
                    <a:lnTo>
                      <a:pt x="982" y="496"/>
                    </a:lnTo>
                    <a:lnTo>
                      <a:pt x="982" y="493"/>
                    </a:lnTo>
                    <a:lnTo>
                      <a:pt x="984" y="491"/>
                    </a:lnTo>
                    <a:lnTo>
                      <a:pt x="984" y="490"/>
                    </a:lnTo>
                    <a:lnTo>
                      <a:pt x="986" y="486"/>
                    </a:lnTo>
                    <a:lnTo>
                      <a:pt x="984" y="486"/>
                    </a:lnTo>
                    <a:lnTo>
                      <a:pt x="984" y="485"/>
                    </a:lnTo>
                    <a:lnTo>
                      <a:pt x="982" y="483"/>
                    </a:lnTo>
                    <a:lnTo>
                      <a:pt x="982" y="481"/>
                    </a:lnTo>
                    <a:lnTo>
                      <a:pt x="984" y="481"/>
                    </a:lnTo>
                    <a:lnTo>
                      <a:pt x="982" y="480"/>
                    </a:lnTo>
                    <a:lnTo>
                      <a:pt x="982" y="476"/>
                    </a:lnTo>
                    <a:lnTo>
                      <a:pt x="979" y="476"/>
                    </a:lnTo>
                    <a:lnTo>
                      <a:pt x="976" y="472"/>
                    </a:lnTo>
                    <a:lnTo>
                      <a:pt x="974" y="472"/>
                    </a:lnTo>
                    <a:lnTo>
                      <a:pt x="973" y="470"/>
                    </a:lnTo>
                    <a:lnTo>
                      <a:pt x="969" y="468"/>
                    </a:lnTo>
                    <a:lnTo>
                      <a:pt x="968" y="470"/>
                    </a:lnTo>
                    <a:lnTo>
                      <a:pt x="968" y="472"/>
                    </a:lnTo>
                    <a:lnTo>
                      <a:pt x="964" y="473"/>
                    </a:lnTo>
                    <a:lnTo>
                      <a:pt x="964" y="476"/>
                    </a:lnTo>
                    <a:lnTo>
                      <a:pt x="961" y="476"/>
                    </a:lnTo>
                    <a:lnTo>
                      <a:pt x="959" y="472"/>
                    </a:lnTo>
                    <a:lnTo>
                      <a:pt x="961" y="470"/>
                    </a:lnTo>
                    <a:lnTo>
                      <a:pt x="963" y="468"/>
                    </a:lnTo>
                    <a:lnTo>
                      <a:pt x="963" y="467"/>
                    </a:lnTo>
                    <a:lnTo>
                      <a:pt x="961" y="460"/>
                    </a:lnTo>
                    <a:lnTo>
                      <a:pt x="959" y="457"/>
                    </a:lnTo>
                    <a:lnTo>
                      <a:pt x="958" y="457"/>
                    </a:lnTo>
                    <a:lnTo>
                      <a:pt x="956" y="455"/>
                    </a:lnTo>
                    <a:lnTo>
                      <a:pt x="953" y="455"/>
                    </a:lnTo>
                    <a:lnTo>
                      <a:pt x="953" y="453"/>
                    </a:lnTo>
                    <a:lnTo>
                      <a:pt x="953" y="452"/>
                    </a:lnTo>
                    <a:lnTo>
                      <a:pt x="953" y="450"/>
                    </a:lnTo>
                    <a:lnTo>
                      <a:pt x="953" y="449"/>
                    </a:lnTo>
                    <a:lnTo>
                      <a:pt x="950" y="449"/>
                    </a:lnTo>
                    <a:lnTo>
                      <a:pt x="948" y="449"/>
                    </a:lnTo>
                    <a:lnTo>
                      <a:pt x="946" y="450"/>
                    </a:lnTo>
                    <a:lnTo>
                      <a:pt x="943" y="452"/>
                    </a:lnTo>
                    <a:lnTo>
                      <a:pt x="943" y="453"/>
                    </a:lnTo>
                    <a:lnTo>
                      <a:pt x="940" y="455"/>
                    </a:lnTo>
                    <a:lnTo>
                      <a:pt x="940" y="457"/>
                    </a:lnTo>
                    <a:lnTo>
                      <a:pt x="936" y="463"/>
                    </a:lnTo>
                    <a:lnTo>
                      <a:pt x="935" y="465"/>
                    </a:lnTo>
                    <a:lnTo>
                      <a:pt x="933" y="468"/>
                    </a:lnTo>
                    <a:lnTo>
                      <a:pt x="932" y="473"/>
                    </a:lnTo>
                    <a:lnTo>
                      <a:pt x="925" y="478"/>
                    </a:lnTo>
                    <a:lnTo>
                      <a:pt x="923" y="476"/>
                    </a:lnTo>
                    <a:lnTo>
                      <a:pt x="925" y="463"/>
                    </a:lnTo>
                    <a:lnTo>
                      <a:pt x="928" y="457"/>
                    </a:lnTo>
                    <a:lnTo>
                      <a:pt x="928" y="453"/>
                    </a:lnTo>
                    <a:lnTo>
                      <a:pt x="930" y="450"/>
                    </a:lnTo>
                    <a:lnTo>
                      <a:pt x="932" y="450"/>
                    </a:lnTo>
                    <a:lnTo>
                      <a:pt x="932" y="449"/>
                    </a:lnTo>
                    <a:lnTo>
                      <a:pt x="930" y="447"/>
                    </a:lnTo>
                    <a:lnTo>
                      <a:pt x="930" y="444"/>
                    </a:lnTo>
                    <a:lnTo>
                      <a:pt x="928" y="444"/>
                    </a:lnTo>
                    <a:lnTo>
                      <a:pt x="930" y="442"/>
                    </a:lnTo>
                    <a:lnTo>
                      <a:pt x="928" y="440"/>
                    </a:lnTo>
                    <a:lnTo>
                      <a:pt x="925" y="442"/>
                    </a:lnTo>
                    <a:lnTo>
                      <a:pt x="922" y="439"/>
                    </a:lnTo>
                    <a:lnTo>
                      <a:pt x="920" y="435"/>
                    </a:lnTo>
                    <a:lnTo>
                      <a:pt x="918" y="434"/>
                    </a:lnTo>
                    <a:lnTo>
                      <a:pt x="917" y="434"/>
                    </a:lnTo>
                    <a:lnTo>
                      <a:pt x="917" y="432"/>
                    </a:lnTo>
                    <a:lnTo>
                      <a:pt x="913" y="430"/>
                    </a:lnTo>
                    <a:lnTo>
                      <a:pt x="910" y="430"/>
                    </a:lnTo>
                    <a:lnTo>
                      <a:pt x="909" y="432"/>
                    </a:lnTo>
                    <a:lnTo>
                      <a:pt x="907" y="432"/>
                    </a:lnTo>
                    <a:lnTo>
                      <a:pt x="905" y="432"/>
                    </a:lnTo>
                    <a:lnTo>
                      <a:pt x="902" y="430"/>
                    </a:lnTo>
                    <a:lnTo>
                      <a:pt x="902" y="429"/>
                    </a:lnTo>
                    <a:close/>
                    <a:moveTo>
                      <a:pt x="772" y="577"/>
                    </a:moveTo>
                    <a:lnTo>
                      <a:pt x="769" y="578"/>
                    </a:lnTo>
                    <a:lnTo>
                      <a:pt x="767" y="575"/>
                    </a:lnTo>
                    <a:lnTo>
                      <a:pt x="766" y="577"/>
                    </a:lnTo>
                    <a:lnTo>
                      <a:pt x="764" y="575"/>
                    </a:lnTo>
                    <a:lnTo>
                      <a:pt x="759" y="575"/>
                    </a:lnTo>
                    <a:lnTo>
                      <a:pt x="757" y="573"/>
                    </a:lnTo>
                    <a:lnTo>
                      <a:pt x="752" y="578"/>
                    </a:lnTo>
                    <a:lnTo>
                      <a:pt x="749" y="580"/>
                    </a:lnTo>
                    <a:lnTo>
                      <a:pt x="746" y="578"/>
                    </a:lnTo>
                    <a:lnTo>
                      <a:pt x="746" y="577"/>
                    </a:lnTo>
                    <a:lnTo>
                      <a:pt x="749" y="560"/>
                    </a:lnTo>
                    <a:lnTo>
                      <a:pt x="749" y="559"/>
                    </a:lnTo>
                    <a:lnTo>
                      <a:pt x="748" y="555"/>
                    </a:lnTo>
                    <a:lnTo>
                      <a:pt x="746" y="552"/>
                    </a:lnTo>
                    <a:lnTo>
                      <a:pt x="744" y="550"/>
                    </a:lnTo>
                    <a:lnTo>
                      <a:pt x="743" y="549"/>
                    </a:lnTo>
                    <a:lnTo>
                      <a:pt x="741" y="542"/>
                    </a:lnTo>
                    <a:lnTo>
                      <a:pt x="734" y="542"/>
                    </a:lnTo>
                    <a:lnTo>
                      <a:pt x="729" y="544"/>
                    </a:lnTo>
                    <a:lnTo>
                      <a:pt x="725" y="544"/>
                    </a:lnTo>
                    <a:lnTo>
                      <a:pt x="726" y="541"/>
                    </a:lnTo>
                    <a:lnTo>
                      <a:pt x="723" y="534"/>
                    </a:lnTo>
                    <a:lnTo>
                      <a:pt x="726" y="526"/>
                    </a:lnTo>
                    <a:lnTo>
                      <a:pt x="729" y="524"/>
                    </a:lnTo>
                    <a:lnTo>
                      <a:pt x="729" y="523"/>
                    </a:lnTo>
                    <a:lnTo>
                      <a:pt x="731" y="523"/>
                    </a:lnTo>
                    <a:lnTo>
                      <a:pt x="731" y="521"/>
                    </a:lnTo>
                    <a:lnTo>
                      <a:pt x="733" y="519"/>
                    </a:lnTo>
                    <a:lnTo>
                      <a:pt x="731" y="514"/>
                    </a:lnTo>
                    <a:lnTo>
                      <a:pt x="734" y="506"/>
                    </a:lnTo>
                    <a:lnTo>
                      <a:pt x="733" y="501"/>
                    </a:lnTo>
                    <a:lnTo>
                      <a:pt x="731" y="500"/>
                    </a:lnTo>
                    <a:lnTo>
                      <a:pt x="733" y="500"/>
                    </a:lnTo>
                    <a:lnTo>
                      <a:pt x="734" y="496"/>
                    </a:lnTo>
                    <a:lnTo>
                      <a:pt x="743" y="495"/>
                    </a:lnTo>
                    <a:lnTo>
                      <a:pt x="746" y="493"/>
                    </a:lnTo>
                    <a:lnTo>
                      <a:pt x="748" y="493"/>
                    </a:lnTo>
                    <a:lnTo>
                      <a:pt x="744" y="480"/>
                    </a:lnTo>
                    <a:lnTo>
                      <a:pt x="738" y="480"/>
                    </a:lnTo>
                    <a:lnTo>
                      <a:pt x="734" y="481"/>
                    </a:lnTo>
                    <a:lnTo>
                      <a:pt x="733" y="478"/>
                    </a:lnTo>
                    <a:lnTo>
                      <a:pt x="728" y="476"/>
                    </a:lnTo>
                    <a:lnTo>
                      <a:pt x="720" y="470"/>
                    </a:lnTo>
                    <a:lnTo>
                      <a:pt x="721" y="458"/>
                    </a:lnTo>
                    <a:lnTo>
                      <a:pt x="725" y="460"/>
                    </a:lnTo>
                    <a:lnTo>
                      <a:pt x="731" y="463"/>
                    </a:lnTo>
                    <a:lnTo>
                      <a:pt x="734" y="463"/>
                    </a:lnTo>
                    <a:lnTo>
                      <a:pt x="743" y="463"/>
                    </a:lnTo>
                    <a:lnTo>
                      <a:pt x="744" y="463"/>
                    </a:lnTo>
                    <a:lnTo>
                      <a:pt x="746" y="463"/>
                    </a:lnTo>
                    <a:lnTo>
                      <a:pt x="749" y="463"/>
                    </a:lnTo>
                    <a:lnTo>
                      <a:pt x="752" y="467"/>
                    </a:lnTo>
                    <a:lnTo>
                      <a:pt x="754" y="470"/>
                    </a:lnTo>
                    <a:lnTo>
                      <a:pt x="757" y="470"/>
                    </a:lnTo>
                    <a:lnTo>
                      <a:pt x="759" y="470"/>
                    </a:lnTo>
                    <a:lnTo>
                      <a:pt x="761" y="470"/>
                    </a:lnTo>
                    <a:lnTo>
                      <a:pt x="762" y="472"/>
                    </a:lnTo>
                    <a:lnTo>
                      <a:pt x="764" y="472"/>
                    </a:lnTo>
                    <a:lnTo>
                      <a:pt x="767" y="475"/>
                    </a:lnTo>
                    <a:lnTo>
                      <a:pt x="772" y="470"/>
                    </a:lnTo>
                    <a:lnTo>
                      <a:pt x="774" y="470"/>
                    </a:lnTo>
                    <a:lnTo>
                      <a:pt x="774" y="468"/>
                    </a:lnTo>
                    <a:lnTo>
                      <a:pt x="777" y="463"/>
                    </a:lnTo>
                    <a:lnTo>
                      <a:pt x="779" y="462"/>
                    </a:lnTo>
                    <a:lnTo>
                      <a:pt x="782" y="457"/>
                    </a:lnTo>
                    <a:lnTo>
                      <a:pt x="787" y="453"/>
                    </a:lnTo>
                    <a:lnTo>
                      <a:pt x="795" y="450"/>
                    </a:lnTo>
                    <a:lnTo>
                      <a:pt x="797" y="450"/>
                    </a:lnTo>
                    <a:lnTo>
                      <a:pt x="800" y="449"/>
                    </a:lnTo>
                    <a:lnTo>
                      <a:pt x="805" y="445"/>
                    </a:lnTo>
                    <a:lnTo>
                      <a:pt x="810" y="444"/>
                    </a:lnTo>
                    <a:lnTo>
                      <a:pt x="812" y="445"/>
                    </a:lnTo>
                    <a:lnTo>
                      <a:pt x="815" y="444"/>
                    </a:lnTo>
                    <a:lnTo>
                      <a:pt x="817" y="445"/>
                    </a:lnTo>
                    <a:lnTo>
                      <a:pt x="815" y="447"/>
                    </a:lnTo>
                    <a:lnTo>
                      <a:pt x="815" y="453"/>
                    </a:lnTo>
                    <a:lnTo>
                      <a:pt x="818" y="458"/>
                    </a:lnTo>
                    <a:lnTo>
                      <a:pt x="817" y="463"/>
                    </a:lnTo>
                    <a:lnTo>
                      <a:pt x="812" y="465"/>
                    </a:lnTo>
                    <a:lnTo>
                      <a:pt x="810" y="465"/>
                    </a:lnTo>
                    <a:lnTo>
                      <a:pt x="805" y="468"/>
                    </a:lnTo>
                    <a:lnTo>
                      <a:pt x="803" y="468"/>
                    </a:lnTo>
                    <a:lnTo>
                      <a:pt x="794" y="472"/>
                    </a:lnTo>
                    <a:lnTo>
                      <a:pt x="795" y="478"/>
                    </a:lnTo>
                    <a:lnTo>
                      <a:pt x="795" y="481"/>
                    </a:lnTo>
                    <a:lnTo>
                      <a:pt x="798" y="485"/>
                    </a:lnTo>
                    <a:lnTo>
                      <a:pt x="795" y="491"/>
                    </a:lnTo>
                    <a:lnTo>
                      <a:pt x="794" y="498"/>
                    </a:lnTo>
                    <a:lnTo>
                      <a:pt x="795" y="500"/>
                    </a:lnTo>
                    <a:lnTo>
                      <a:pt x="792" y="503"/>
                    </a:lnTo>
                    <a:lnTo>
                      <a:pt x="790" y="504"/>
                    </a:lnTo>
                    <a:lnTo>
                      <a:pt x="794" y="511"/>
                    </a:lnTo>
                    <a:lnTo>
                      <a:pt x="792" y="516"/>
                    </a:lnTo>
                    <a:lnTo>
                      <a:pt x="792" y="518"/>
                    </a:lnTo>
                    <a:lnTo>
                      <a:pt x="792" y="523"/>
                    </a:lnTo>
                    <a:lnTo>
                      <a:pt x="792" y="526"/>
                    </a:lnTo>
                    <a:lnTo>
                      <a:pt x="794" y="529"/>
                    </a:lnTo>
                    <a:lnTo>
                      <a:pt x="790" y="529"/>
                    </a:lnTo>
                    <a:lnTo>
                      <a:pt x="790" y="531"/>
                    </a:lnTo>
                    <a:lnTo>
                      <a:pt x="795" y="532"/>
                    </a:lnTo>
                    <a:lnTo>
                      <a:pt x="795" y="534"/>
                    </a:lnTo>
                    <a:lnTo>
                      <a:pt x="782" y="536"/>
                    </a:lnTo>
                    <a:lnTo>
                      <a:pt x="777" y="537"/>
                    </a:lnTo>
                    <a:lnTo>
                      <a:pt x="779" y="537"/>
                    </a:lnTo>
                    <a:lnTo>
                      <a:pt x="777" y="541"/>
                    </a:lnTo>
                    <a:lnTo>
                      <a:pt x="777" y="544"/>
                    </a:lnTo>
                    <a:lnTo>
                      <a:pt x="782" y="550"/>
                    </a:lnTo>
                    <a:lnTo>
                      <a:pt x="784" y="550"/>
                    </a:lnTo>
                    <a:lnTo>
                      <a:pt x="785" y="552"/>
                    </a:lnTo>
                    <a:lnTo>
                      <a:pt x="785" y="554"/>
                    </a:lnTo>
                    <a:lnTo>
                      <a:pt x="785" y="555"/>
                    </a:lnTo>
                    <a:lnTo>
                      <a:pt x="782" y="560"/>
                    </a:lnTo>
                    <a:lnTo>
                      <a:pt x="779" y="560"/>
                    </a:lnTo>
                    <a:lnTo>
                      <a:pt x="777" y="564"/>
                    </a:lnTo>
                    <a:lnTo>
                      <a:pt x="777" y="570"/>
                    </a:lnTo>
                    <a:lnTo>
                      <a:pt x="780" y="578"/>
                    </a:lnTo>
                    <a:lnTo>
                      <a:pt x="780" y="583"/>
                    </a:lnTo>
                    <a:lnTo>
                      <a:pt x="775" y="587"/>
                    </a:lnTo>
                    <a:lnTo>
                      <a:pt x="772" y="577"/>
                    </a:lnTo>
                    <a:close/>
                    <a:moveTo>
                      <a:pt x="711" y="784"/>
                    </a:moveTo>
                    <a:lnTo>
                      <a:pt x="711" y="779"/>
                    </a:lnTo>
                    <a:lnTo>
                      <a:pt x="710" y="782"/>
                    </a:lnTo>
                    <a:lnTo>
                      <a:pt x="708" y="779"/>
                    </a:lnTo>
                    <a:lnTo>
                      <a:pt x="708" y="781"/>
                    </a:lnTo>
                    <a:lnTo>
                      <a:pt x="703" y="782"/>
                    </a:lnTo>
                    <a:lnTo>
                      <a:pt x="702" y="782"/>
                    </a:lnTo>
                    <a:lnTo>
                      <a:pt x="705" y="781"/>
                    </a:lnTo>
                    <a:lnTo>
                      <a:pt x="703" y="779"/>
                    </a:lnTo>
                    <a:lnTo>
                      <a:pt x="703" y="777"/>
                    </a:lnTo>
                    <a:lnTo>
                      <a:pt x="703" y="779"/>
                    </a:lnTo>
                    <a:lnTo>
                      <a:pt x="702" y="779"/>
                    </a:lnTo>
                    <a:lnTo>
                      <a:pt x="700" y="779"/>
                    </a:lnTo>
                    <a:lnTo>
                      <a:pt x="700" y="777"/>
                    </a:lnTo>
                    <a:lnTo>
                      <a:pt x="703" y="777"/>
                    </a:lnTo>
                    <a:lnTo>
                      <a:pt x="703" y="776"/>
                    </a:lnTo>
                    <a:lnTo>
                      <a:pt x="705" y="776"/>
                    </a:lnTo>
                    <a:lnTo>
                      <a:pt x="703" y="776"/>
                    </a:lnTo>
                    <a:lnTo>
                      <a:pt x="703" y="774"/>
                    </a:lnTo>
                    <a:lnTo>
                      <a:pt x="703" y="772"/>
                    </a:lnTo>
                    <a:lnTo>
                      <a:pt x="705" y="771"/>
                    </a:lnTo>
                    <a:lnTo>
                      <a:pt x="703" y="771"/>
                    </a:lnTo>
                    <a:lnTo>
                      <a:pt x="703" y="769"/>
                    </a:lnTo>
                    <a:lnTo>
                      <a:pt x="700" y="771"/>
                    </a:lnTo>
                    <a:lnTo>
                      <a:pt x="698" y="769"/>
                    </a:lnTo>
                    <a:lnTo>
                      <a:pt x="698" y="768"/>
                    </a:lnTo>
                    <a:lnTo>
                      <a:pt x="700" y="769"/>
                    </a:lnTo>
                    <a:lnTo>
                      <a:pt x="702" y="768"/>
                    </a:lnTo>
                    <a:lnTo>
                      <a:pt x="698" y="766"/>
                    </a:lnTo>
                    <a:lnTo>
                      <a:pt x="702" y="766"/>
                    </a:lnTo>
                    <a:lnTo>
                      <a:pt x="703" y="768"/>
                    </a:lnTo>
                    <a:lnTo>
                      <a:pt x="703" y="763"/>
                    </a:lnTo>
                    <a:lnTo>
                      <a:pt x="705" y="759"/>
                    </a:lnTo>
                    <a:lnTo>
                      <a:pt x="703" y="754"/>
                    </a:lnTo>
                    <a:lnTo>
                      <a:pt x="702" y="754"/>
                    </a:lnTo>
                    <a:lnTo>
                      <a:pt x="698" y="754"/>
                    </a:lnTo>
                    <a:lnTo>
                      <a:pt x="700" y="753"/>
                    </a:lnTo>
                    <a:lnTo>
                      <a:pt x="697" y="754"/>
                    </a:lnTo>
                    <a:lnTo>
                      <a:pt x="693" y="758"/>
                    </a:lnTo>
                    <a:lnTo>
                      <a:pt x="693" y="759"/>
                    </a:lnTo>
                    <a:lnTo>
                      <a:pt x="693" y="761"/>
                    </a:lnTo>
                    <a:lnTo>
                      <a:pt x="693" y="766"/>
                    </a:lnTo>
                    <a:lnTo>
                      <a:pt x="690" y="772"/>
                    </a:lnTo>
                    <a:lnTo>
                      <a:pt x="687" y="776"/>
                    </a:lnTo>
                    <a:lnTo>
                      <a:pt x="682" y="774"/>
                    </a:lnTo>
                    <a:lnTo>
                      <a:pt x="682" y="776"/>
                    </a:lnTo>
                    <a:lnTo>
                      <a:pt x="680" y="776"/>
                    </a:lnTo>
                    <a:lnTo>
                      <a:pt x="682" y="774"/>
                    </a:lnTo>
                    <a:lnTo>
                      <a:pt x="680" y="774"/>
                    </a:lnTo>
                    <a:lnTo>
                      <a:pt x="682" y="781"/>
                    </a:lnTo>
                    <a:lnTo>
                      <a:pt x="687" y="781"/>
                    </a:lnTo>
                    <a:lnTo>
                      <a:pt x="695" y="782"/>
                    </a:lnTo>
                    <a:lnTo>
                      <a:pt x="697" y="782"/>
                    </a:lnTo>
                    <a:lnTo>
                      <a:pt x="703" y="784"/>
                    </a:lnTo>
                    <a:lnTo>
                      <a:pt x="708" y="786"/>
                    </a:lnTo>
                    <a:lnTo>
                      <a:pt x="711" y="784"/>
                    </a:lnTo>
                    <a:close/>
                    <a:moveTo>
                      <a:pt x="687" y="753"/>
                    </a:moveTo>
                    <a:lnTo>
                      <a:pt x="685" y="754"/>
                    </a:lnTo>
                    <a:lnTo>
                      <a:pt x="688" y="756"/>
                    </a:lnTo>
                    <a:lnTo>
                      <a:pt x="687" y="753"/>
                    </a:lnTo>
                    <a:close/>
                    <a:moveTo>
                      <a:pt x="683" y="756"/>
                    </a:moveTo>
                    <a:lnTo>
                      <a:pt x="683" y="758"/>
                    </a:lnTo>
                    <a:lnTo>
                      <a:pt x="683" y="756"/>
                    </a:lnTo>
                    <a:close/>
                    <a:moveTo>
                      <a:pt x="685" y="758"/>
                    </a:moveTo>
                    <a:lnTo>
                      <a:pt x="687" y="758"/>
                    </a:lnTo>
                    <a:lnTo>
                      <a:pt x="687" y="759"/>
                    </a:lnTo>
                    <a:lnTo>
                      <a:pt x="685" y="759"/>
                    </a:lnTo>
                    <a:lnTo>
                      <a:pt x="685" y="758"/>
                    </a:lnTo>
                    <a:close/>
                    <a:moveTo>
                      <a:pt x="656" y="764"/>
                    </a:moveTo>
                    <a:lnTo>
                      <a:pt x="656" y="763"/>
                    </a:lnTo>
                    <a:lnTo>
                      <a:pt x="654" y="761"/>
                    </a:lnTo>
                    <a:lnTo>
                      <a:pt x="654" y="763"/>
                    </a:lnTo>
                    <a:lnTo>
                      <a:pt x="652" y="764"/>
                    </a:lnTo>
                    <a:lnTo>
                      <a:pt x="656" y="764"/>
                    </a:lnTo>
                    <a:close/>
                    <a:moveTo>
                      <a:pt x="555" y="782"/>
                    </a:moveTo>
                    <a:lnTo>
                      <a:pt x="552" y="784"/>
                    </a:lnTo>
                    <a:lnTo>
                      <a:pt x="555" y="782"/>
                    </a:lnTo>
                    <a:close/>
                    <a:moveTo>
                      <a:pt x="591" y="894"/>
                    </a:moveTo>
                    <a:lnTo>
                      <a:pt x="595" y="894"/>
                    </a:lnTo>
                    <a:lnTo>
                      <a:pt x="601" y="894"/>
                    </a:lnTo>
                    <a:lnTo>
                      <a:pt x="616" y="888"/>
                    </a:lnTo>
                    <a:lnTo>
                      <a:pt x="619" y="886"/>
                    </a:lnTo>
                    <a:lnTo>
                      <a:pt x="624" y="883"/>
                    </a:lnTo>
                    <a:lnTo>
                      <a:pt x="628" y="879"/>
                    </a:lnTo>
                    <a:lnTo>
                      <a:pt x="628" y="871"/>
                    </a:lnTo>
                    <a:lnTo>
                      <a:pt x="629" y="866"/>
                    </a:lnTo>
                    <a:lnTo>
                      <a:pt x="629" y="865"/>
                    </a:lnTo>
                    <a:lnTo>
                      <a:pt x="629" y="860"/>
                    </a:lnTo>
                    <a:lnTo>
                      <a:pt x="633" y="856"/>
                    </a:lnTo>
                    <a:lnTo>
                      <a:pt x="636" y="853"/>
                    </a:lnTo>
                    <a:lnTo>
                      <a:pt x="636" y="851"/>
                    </a:lnTo>
                    <a:lnTo>
                      <a:pt x="644" y="848"/>
                    </a:lnTo>
                    <a:lnTo>
                      <a:pt x="651" y="846"/>
                    </a:lnTo>
                    <a:lnTo>
                      <a:pt x="654" y="846"/>
                    </a:lnTo>
                    <a:lnTo>
                      <a:pt x="656" y="843"/>
                    </a:lnTo>
                    <a:lnTo>
                      <a:pt x="664" y="837"/>
                    </a:lnTo>
                    <a:lnTo>
                      <a:pt x="660" y="832"/>
                    </a:lnTo>
                    <a:lnTo>
                      <a:pt x="656" y="830"/>
                    </a:lnTo>
                    <a:lnTo>
                      <a:pt x="654" y="833"/>
                    </a:lnTo>
                    <a:lnTo>
                      <a:pt x="651" y="832"/>
                    </a:lnTo>
                    <a:lnTo>
                      <a:pt x="652" y="828"/>
                    </a:lnTo>
                    <a:lnTo>
                      <a:pt x="652" y="830"/>
                    </a:lnTo>
                    <a:lnTo>
                      <a:pt x="654" y="830"/>
                    </a:lnTo>
                    <a:lnTo>
                      <a:pt x="654" y="825"/>
                    </a:lnTo>
                    <a:lnTo>
                      <a:pt x="652" y="823"/>
                    </a:lnTo>
                    <a:lnTo>
                      <a:pt x="651" y="818"/>
                    </a:lnTo>
                    <a:lnTo>
                      <a:pt x="649" y="815"/>
                    </a:lnTo>
                    <a:lnTo>
                      <a:pt x="641" y="814"/>
                    </a:lnTo>
                    <a:lnTo>
                      <a:pt x="637" y="812"/>
                    </a:lnTo>
                    <a:lnTo>
                      <a:pt x="633" y="809"/>
                    </a:lnTo>
                    <a:lnTo>
                      <a:pt x="631" y="809"/>
                    </a:lnTo>
                    <a:lnTo>
                      <a:pt x="624" y="809"/>
                    </a:lnTo>
                    <a:lnTo>
                      <a:pt x="613" y="809"/>
                    </a:lnTo>
                    <a:lnTo>
                      <a:pt x="610" y="814"/>
                    </a:lnTo>
                    <a:lnTo>
                      <a:pt x="613" y="807"/>
                    </a:lnTo>
                    <a:lnTo>
                      <a:pt x="605" y="804"/>
                    </a:lnTo>
                    <a:lnTo>
                      <a:pt x="603" y="805"/>
                    </a:lnTo>
                    <a:lnTo>
                      <a:pt x="605" y="804"/>
                    </a:lnTo>
                    <a:lnTo>
                      <a:pt x="603" y="800"/>
                    </a:lnTo>
                    <a:lnTo>
                      <a:pt x="598" y="797"/>
                    </a:lnTo>
                    <a:lnTo>
                      <a:pt x="596" y="794"/>
                    </a:lnTo>
                    <a:lnTo>
                      <a:pt x="591" y="791"/>
                    </a:lnTo>
                    <a:lnTo>
                      <a:pt x="587" y="792"/>
                    </a:lnTo>
                    <a:lnTo>
                      <a:pt x="587" y="795"/>
                    </a:lnTo>
                    <a:lnTo>
                      <a:pt x="587" y="799"/>
                    </a:lnTo>
                    <a:lnTo>
                      <a:pt x="587" y="800"/>
                    </a:lnTo>
                    <a:lnTo>
                      <a:pt x="590" y="809"/>
                    </a:lnTo>
                    <a:lnTo>
                      <a:pt x="591" y="810"/>
                    </a:lnTo>
                    <a:lnTo>
                      <a:pt x="590" y="814"/>
                    </a:lnTo>
                    <a:lnTo>
                      <a:pt x="587" y="822"/>
                    </a:lnTo>
                    <a:lnTo>
                      <a:pt x="587" y="827"/>
                    </a:lnTo>
                    <a:lnTo>
                      <a:pt x="587" y="828"/>
                    </a:lnTo>
                    <a:lnTo>
                      <a:pt x="587" y="825"/>
                    </a:lnTo>
                    <a:lnTo>
                      <a:pt x="590" y="812"/>
                    </a:lnTo>
                    <a:lnTo>
                      <a:pt x="588" y="809"/>
                    </a:lnTo>
                    <a:lnTo>
                      <a:pt x="585" y="800"/>
                    </a:lnTo>
                    <a:lnTo>
                      <a:pt x="587" y="795"/>
                    </a:lnTo>
                    <a:lnTo>
                      <a:pt x="585" y="794"/>
                    </a:lnTo>
                    <a:lnTo>
                      <a:pt x="583" y="791"/>
                    </a:lnTo>
                    <a:lnTo>
                      <a:pt x="575" y="792"/>
                    </a:lnTo>
                    <a:lnTo>
                      <a:pt x="573" y="795"/>
                    </a:lnTo>
                    <a:lnTo>
                      <a:pt x="568" y="799"/>
                    </a:lnTo>
                    <a:lnTo>
                      <a:pt x="567" y="802"/>
                    </a:lnTo>
                    <a:lnTo>
                      <a:pt x="564" y="807"/>
                    </a:lnTo>
                    <a:lnTo>
                      <a:pt x="544" y="814"/>
                    </a:lnTo>
                    <a:lnTo>
                      <a:pt x="545" y="815"/>
                    </a:lnTo>
                    <a:lnTo>
                      <a:pt x="547" y="812"/>
                    </a:lnTo>
                    <a:lnTo>
                      <a:pt x="549" y="814"/>
                    </a:lnTo>
                    <a:lnTo>
                      <a:pt x="554" y="815"/>
                    </a:lnTo>
                    <a:lnTo>
                      <a:pt x="550" y="815"/>
                    </a:lnTo>
                    <a:lnTo>
                      <a:pt x="552" y="817"/>
                    </a:lnTo>
                    <a:lnTo>
                      <a:pt x="550" y="817"/>
                    </a:lnTo>
                    <a:lnTo>
                      <a:pt x="552" y="818"/>
                    </a:lnTo>
                    <a:lnTo>
                      <a:pt x="559" y="817"/>
                    </a:lnTo>
                    <a:lnTo>
                      <a:pt x="555" y="818"/>
                    </a:lnTo>
                    <a:lnTo>
                      <a:pt x="557" y="822"/>
                    </a:lnTo>
                    <a:lnTo>
                      <a:pt x="555" y="818"/>
                    </a:lnTo>
                    <a:lnTo>
                      <a:pt x="550" y="818"/>
                    </a:lnTo>
                    <a:lnTo>
                      <a:pt x="549" y="817"/>
                    </a:lnTo>
                    <a:lnTo>
                      <a:pt x="549" y="818"/>
                    </a:lnTo>
                    <a:lnTo>
                      <a:pt x="547" y="817"/>
                    </a:lnTo>
                    <a:lnTo>
                      <a:pt x="545" y="818"/>
                    </a:lnTo>
                    <a:lnTo>
                      <a:pt x="545" y="815"/>
                    </a:lnTo>
                    <a:lnTo>
                      <a:pt x="547" y="814"/>
                    </a:lnTo>
                    <a:lnTo>
                      <a:pt x="547" y="815"/>
                    </a:lnTo>
                    <a:lnTo>
                      <a:pt x="547" y="814"/>
                    </a:lnTo>
                    <a:lnTo>
                      <a:pt x="545" y="815"/>
                    </a:lnTo>
                    <a:lnTo>
                      <a:pt x="544" y="818"/>
                    </a:lnTo>
                    <a:lnTo>
                      <a:pt x="545" y="818"/>
                    </a:lnTo>
                    <a:lnTo>
                      <a:pt x="549" y="822"/>
                    </a:lnTo>
                    <a:lnTo>
                      <a:pt x="547" y="822"/>
                    </a:lnTo>
                    <a:lnTo>
                      <a:pt x="544" y="820"/>
                    </a:lnTo>
                    <a:lnTo>
                      <a:pt x="545" y="823"/>
                    </a:lnTo>
                    <a:lnTo>
                      <a:pt x="544" y="822"/>
                    </a:lnTo>
                    <a:lnTo>
                      <a:pt x="544" y="825"/>
                    </a:lnTo>
                    <a:lnTo>
                      <a:pt x="544" y="818"/>
                    </a:lnTo>
                    <a:lnTo>
                      <a:pt x="542" y="820"/>
                    </a:lnTo>
                    <a:lnTo>
                      <a:pt x="539" y="822"/>
                    </a:lnTo>
                    <a:lnTo>
                      <a:pt x="539" y="825"/>
                    </a:lnTo>
                    <a:lnTo>
                      <a:pt x="536" y="825"/>
                    </a:lnTo>
                    <a:lnTo>
                      <a:pt x="539" y="825"/>
                    </a:lnTo>
                    <a:lnTo>
                      <a:pt x="539" y="822"/>
                    </a:lnTo>
                    <a:lnTo>
                      <a:pt x="541" y="820"/>
                    </a:lnTo>
                    <a:lnTo>
                      <a:pt x="542" y="820"/>
                    </a:lnTo>
                    <a:lnTo>
                      <a:pt x="544" y="817"/>
                    </a:lnTo>
                    <a:lnTo>
                      <a:pt x="542" y="817"/>
                    </a:lnTo>
                    <a:lnTo>
                      <a:pt x="544" y="817"/>
                    </a:lnTo>
                    <a:lnTo>
                      <a:pt x="541" y="814"/>
                    </a:lnTo>
                    <a:lnTo>
                      <a:pt x="544" y="814"/>
                    </a:lnTo>
                    <a:lnTo>
                      <a:pt x="539" y="814"/>
                    </a:lnTo>
                    <a:lnTo>
                      <a:pt x="526" y="820"/>
                    </a:lnTo>
                    <a:lnTo>
                      <a:pt x="518" y="823"/>
                    </a:lnTo>
                    <a:lnTo>
                      <a:pt x="511" y="825"/>
                    </a:lnTo>
                    <a:lnTo>
                      <a:pt x="513" y="827"/>
                    </a:lnTo>
                    <a:lnTo>
                      <a:pt x="514" y="827"/>
                    </a:lnTo>
                    <a:lnTo>
                      <a:pt x="514" y="828"/>
                    </a:lnTo>
                    <a:lnTo>
                      <a:pt x="513" y="827"/>
                    </a:lnTo>
                    <a:lnTo>
                      <a:pt x="514" y="828"/>
                    </a:lnTo>
                    <a:lnTo>
                      <a:pt x="513" y="830"/>
                    </a:lnTo>
                    <a:lnTo>
                      <a:pt x="513" y="832"/>
                    </a:lnTo>
                    <a:lnTo>
                      <a:pt x="511" y="832"/>
                    </a:lnTo>
                    <a:lnTo>
                      <a:pt x="511" y="830"/>
                    </a:lnTo>
                    <a:lnTo>
                      <a:pt x="509" y="830"/>
                    </a:lnTo>
                    <a:lnTo>
                      <a:pt x="511" y="830"/>
                    </a:lnTo>
                    <a:lnTo>
                      <a:pt x="513" y="828"/>
                    </a:lnTo>
                    <a:lnTo>
                      <a:pt x="511" y="830"/>
                    </a:lnTo>
                    <a:lnTo>
                      <a:pt x="513" y="827"/>
                    </a:lnTo>
                    <a:lnTo>
                      <a:pt x="511" y="827"/>
                    </a:lnTo>
                    <a:lnTo>
                      <a:pt x="511" y="825"/>
                    </a:lnTo>
                    <a:lnTo>
                      <a:pt x="509" y="825"/>
                    </a:lnTo>
                    <a:lnTo>
                      <a:pt x="513" y="823"/>
                    </a:lnTo>
                    <a:lnTo>
                      <a:pt x="504" y="823"/>
                    </a:lnTo>
                    <a:lnTo>
                      <a:pt x="501" y="827"/>
                    </a:lnTo>
                    <a:lnTo>
                      <a:pt x="499" y="833"/>
                    </a:lnTo>
                    <a:lnTo>
                      <a:pt x="498" y="835"/>
                    </a:lnTo>
                    <a:lnTo>
                      <a:pt x="496" y="840"/>
                    </a:lnTo>
                    <a:lnTo>
                      <a:pt x="488" y="843"/>
                    </a:lnTo>
                    <a:lnTo>
                      <a:pt x="488" y="846"/>
                    </a:lnTo>
                    <a:lnTo>
                      <a:pt x="483" y="848"/>
                    </a:lnTo>
                    <a:lnTo>
                      <a:pt x="485" y="850"/>
                    </a:lnTo>
                    <a:lnTo>
                      <a:pt x="501" y="846"/>
                    </a:lnTo>
                    <a:lnTo>
                      <a:pt x="508" y="845"/>
                    </a:lnTo>
                    <a:lnTo>
                      <a:pt x="518" y="846"/>
                    </a:lnTo>
                    <a:lnTo>
                      <a:pt x="526" y="855"/>
                    </a:lnTo>
                    <a:lnTo>
                      <a:pt x="531" y="860"/>
                    </a:lnTo>
                    <a:lnTo>
                      <a:pt x="552" y="868"/>
                    </a:lnTo>
                    <a:lnTo>
                      <a:pt x="560" y="876"/>
                    </a:lnTo>
                    <a:lnTo>
                      <a:pt x="568" y="883"/>
                    </a:lnTo>
                    <a:lnTo>
                      <a:pt x="577" y="889"/>
                    </a:lnTo>
                    <a:lnTo>
                      <a:pt x="580" y="896"/>
                    </a:lnTo>
                    <a:lnTo>
                      <a:pt x="585" y="897"/>
                    </a:lnTo>
                    <a:lnTo>
                      <a:pt x="591" y="894"/>
                    </a:lnTo>
                    <a:close/>
                    <a:moveTo>
                      <a:pt x="337" y="809"/>
                    </a:moveTo>
                    <a:lnTo>
                      <a:pt x="337" y="810"/>
                    </a:lnTo>
                    <a:lnTo>
                      <a:pt x="337" y="809"/>
                    </a:lnTo>
                    <a:close/>
                    <a:moveTo>
                      <a:pt x="493" y="820"/>
                    </a:moveTo>
                    <a:lnTo>
                      <a:pt x="495" y="820"/>
                    </a:lnTo>
                    <a:lnTo>
                      <a:pt x="493" y="820"/>
                    </a:lnTo>
                    <a:close/>
                    <a:moveTo>
                      <a:pt x="353" y="833"/>
                    </a:moveTo>
                    <a:lnTo>
                      <a:pt x="352" y="830"/>
                    </a:lnTo>
                    <a:lnTo>
                      <a:pt x="345" y="830"/>
                    </a:lnTo>
                    <a:lnTo>
                      <a:pt x="342" y="832"/>
                    </a:lnTo>
                    <a:lnTo>
                      <a:pt x="343" y="835"/>
                    </a:lnTo>
                    <a:lnTo>
                      <a:pt x="350" y="835"/>
                    </a:lnTo>
                    <a:lnTo>
                      <a:pt x="353" y="833"/>
                    </a:lnTo>
                    <a:close/>
                    <a:moveTo>
                      <a:pt x="334" y="835"/>
                    </a:moveTo>
                    <a:lnTo>
                      <a:pt x="330" y="832"/>
                    </a:lnTo>
                    <a:lnTo>
                      <a:pt x="330" y="837"/>
                    </a:lnTo>
                    <a:lnTo>
                      <a:pt x="332" y="837"/>
                    </a:lnTo>
                    <a:lnTo>
                      <a:pt x="334" y="835"/>
                    </a:lnTo>
                    <a:close/>
                    <a:moveTo>
                      <a:pt x="311" y="832"/>
                    </a:moveTo>
                    <a:lnTo>
                      <a:pt x="312" y="832"/>
                    </a:lnTo>
                    <a:lnTo>
                      <a:pt x="312" y="833"/>
                    </a:lnTo>
                    <a:lnTo>
                      <a:pt x="311" y="833"/>
                    </a:lnTo>
                    <a:lnTo>
                      <a:pt x="311" y="832"/>
                    </a:lnTo>
                    <a:close/>
                    <a:moveTo>
                      <a:pt x="337" y="837"/>
                    </a:moveTo>
                    <a:lnTo>
                      <a:pt x="338" y="837"/>
                    </a:lnTo>
                    <a:lnTo>
                      <a:pt x="338" y="838"/>
                    </a:lnTo>
                    <a:lnTo>
                      <a:pt x="337" y="838"/>
                    </a:lnTo>
                    <a:lnTo>
                      <a:pt x="337" y="837"/>
                    </a:lnTo>
                    <a:close/>
                    <a:moveTo>
                      <a:pt x="334" y="837"/>
                    </a:moveTo>
                    <a:lnTo>
                      <a:pt x="335" y="837"/>
                    </a:lnTo>
                    <a:lnTo>
                      <a:pt x="334" y="837"/>
                    </a:lnTo>
                    <a:close/>
                    <a:moveTo>
                      <a:pt x="345" y="837"/>
                    </a:moveTo>
                    <a:lnTo>
                      <a:pt x="340" y="837"/>
                    </a:lnTo>
                    <a:lnTo>
                      <a:pt x="342" y="838"/>
                    </a:lnTo>
                    <a:lnTo>
                      <a:pt x="345" y="837"/>
                    </a:lnTo>
                    <a:close/>
                    <a:moveTo>
                      <a:pt x="342" y="840"/>
                    </a:moveTo>
                    <a:lnTo>
                      <a:pt x="340" y="838"/>
                    </a:lnTo>
                    <a:lnTo>
                      <a:pt x="338" y="838"/>
                    </a:lnTo>
                    <a:lnTo>
                      <a:pt x="340" y="840"/>
                    </a:lnTo>
                    <a:lnTo>
                      <a:pt x="342" y="840"/>
                    </a:lnTo>
                    <a:close/>
                    <a:moveTo>
                      <a:pt x="335" y="838"/>
                    </a:moveTo>
                    <a:lnTo>
                      <a:pt x="335" y="840"/>
                    </a:lnTo>
                    <a:lnTo>
                      <a:pt x="335" y="838"/>
                    </a:lnTo>
                    <a:close/>
                    <a:moveTo>
                      <a:pt x="338" y="840"/>
                    </a:moveTo>
                    <a:lnTo>
                      <a:pt x="340" y="840"/>
                    </a:lnTo>
                    <a:lnTo>
                      <a:pt x="340" y="842"/>
                    </a:lnTo>
                    <a:lnTo>
                      <a:pt x="338" y="842"/>
                    </a:lnTo>
                    <a:lnTo>
                      <a:pt x="338" y="84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 23">
                <a:extLst>
                  <a:ext uri="{FF2B5EF4-FFF2-40B4-BE49-F238E27FC236}">
                    <a16:creationId xmlns:a16="http://schemas.microsoft.com/office/drawing/2014/main" id="{099938FB-9DE3-4C30-92A3-2DD8EEE7D27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476375" y="4321175"/>
                <a:ext cx="2749550" cy="1987550"/>
              </a:xfrm>
              <a:custGeom>
                <a:avLst/>
                <a:gdLst>
                  <a:gd name="T0" fmla="*/ 1092 w 1732"/>
                  <a:gd name="T1" fmla="*/ 833 h 1252"/>
                  <a:gd name="T2" fmla="*/ 1244 w 1732"/>
                  <a:gd name="T3" fmla="*/ 713 h 1252"/>
                  <a:gd name="T4" fmla="*/ 1342 w 1732"/>
                  <a:gd name="T5" fmla="*/ 649 h 1252"/>
                  <a:gd name="T6" fmla="*/ 1423 w 1732"/>
                  <a:gd name="T7" fmla="*/ 619 h 1252"/>
                  <a:gd name="T8" fmla="*/ 1592 w 1732"/>
                  <a:gd name="T9" fmla="*/ 628 h 1252"/>
                  <a:gd name="T10" fmla="*/ 1681 w 1732"/>
                  <a:gd name="T11" fmla="*/ 610 h 1252"/>
                  <a:gd name="T12" fmla="*/ 1717 w 1732"/>
                  <a:gd name="T13" fmla="*/ 452 h 1252"/>
                  <a:gd name="T14" fmla="*/ 1689 w 1732"/>
                  <a:gd name="T15" fmla="*/ 333 h 1252"/>
                  <a:gd name="T16" fmla="*/ 1659 w 1732"/>
                  <a:gd name="T17" fmla="*/ 207 h 1252"/>
                  <a:gd name="T18" fmla="*/ 1672 w 1732"/>
                  <a:gd name="T19" fmla="*/ 44 h 1252"/>
                  <a:gd name="T20" fmla="*/ 1600 w 1732"/>
                  <a:gd name="T21" fmla="*/ 54 h 1252"/>
                  <a:gd name="T22" fmla="*/ 1487 w 1732"/>
                  <a:gd name="T23" fmla="*/ 55 h 1252"/>
                  <a:gd name="T24" fmla="*/ 1377 w 1732"/>
                  <a:gd name="T25" fmla="*/ 83 h 1252"/>
                  <a:gd name="T26" fmla="*/ 1319 w 1732"/>
                  <a:gd name="T27" fmla="*/ 164 h 1252"/>
                  <a:gd name="T28" fmla="*/ 1321 w 1732"/>
                  <a:gd name="T29" fmla="*/ 281 h 1252"/>
                  <a:gd name="T30" fmla="*/ 1424 w 1732"/>
                  <a:gd name="T31" fmla="*/ 174 h 1252"/>
                  <a:gd name="T32" fmla="*/ 1380 w 1732"/>
                  <a:gd name="T33" fmla="*/ 235 h 1252"/>
                  <a:gd name="T34" fmla="*/ 1265 w 1732"/>
                  <a:gd name="T35" fmla="*/ 363 h 1252"/>
                  <a:gd name="T36" fmla="*/ 1206 w 1732"/>
                  <a:gd name="T37" fmla="*/ 453 h 1252"/>
                  <a:gd name="T38" fmla="*/ 1199 w 1732"/>
                  <a:gd name="T39" fmla="*/ 537 h 1252"/>
                  <a:gd name="T40" fmla="*/ 1147 w 1732"/>
                  <a:gd name="T41" fmla="*/ 511 h 1252"/>
                  <a:gd name="T42" fmla="*/ 894 w 1732"/>
                  <a:gd name="T43" fmla="*/ 501 h 1252"/>
                  <a:gd name="T44" fmla="*/ 766 w 1732"/>
                  <a:gd name="T45" fmla="*/ 554 h 1252"/>
                  <a:gd name="T46" fmla="*/ 793 w 1732"/>
                  <a:gd name="T47" fmla="*/ 588 h 1252"/>
                  <a:gd name="T48" fmla="*/ 675 w 1732"/>
                  <a:gd name="T49" fmla="*/ 616 h 1252"/>
                  <a:gd name="T50" fmla="*/ 632 w 1732"/>
                  <a:gd name="T51" fmla="*/ 766 h 1252"/>
                  <a:gd name="T52" fmla="*/ 557 w 1732"/>
                  <a:gd name="T53" fmla="*/ 853 h 1252"/>
                  <a:gd name="T54" fmla="*/ 557 w 1732"/>
                  <a:gd name="T55" fmla="*/ 896 h 1252"/>
                  <a:gd name="T56" fmla="*/ 489 w 1732"/>
                  <a:gd name="T57" fmla="*/ 884 h 1252"/>
                  <a:gd name="T58" fmla="*/ 465 w 1732"/>
                  <a:gd name="T59" fmla="*/ 956 h 1252"/>
                  <a:gd name="T60" fmla="*/ 394 w 1732"/>
                  <a:gd name="T61" fmla="*/ 1037 h 1252"/>
                  <a:gd name="T62" fmla="*/ 304 w 1732"/>
                  <a:gd name="T63" fmla="*/ 1065 h 1252"/>
                  <a:gd name="T64" fmla="*/ 256 w 1732"/>
                  <a:gd name="T65" fmla="*/ 1155 h 1252"/>
                  <a:gd name="T66" fmla="*/ 337 w 1732"/>
                  <a:gd name="T67" fmla="*/ 1113 h 1252"/>
                  <a:gd name="T68" fmla="*/ 422 w 1732"/>
                  <a:gd name="T69" fmla="*/ 1197 h 1252"/>
                  <a:gd name="T70" fmla="*/ 445 w 1732"/>
                  <a:gd name="T71" fmla="*/ 1129 h 1252"/>
                  <a:gd name="T72" fmla="*/ 478 w 1732"/>
                  <a:gd name="T73" fmla="*/ 1095 h 1252"/>
                  <a:gd name="T74" fmla="*/ 483 w 1732"/>
                  <a:gd name="T75" fmla="*/ 1068 h 1252"/>
                  <a:gd name="T76" fmla="*/ 504 w 1732"/>
                  <a:gd name="T77" fmla="*/ 1055 h 1252"/>
                  <a:gd name="T78" fmla="*/ 501 w 1732"/>
                  <a:gd name="T79" fmla="*/ 1088 h 1252"/>
                  <a:gd name="T80" fmla="*/ 575 w 1732"/>
                  <a:gd name="T81" fmla="*/ 1050 h 1252"/>
                  <a:gd name="T82" fmla="*/ 626 w 1732"/>
                  <a:gd name="T83" fmla="*/ 991 h 1252"/>
                  <a:gd name="T84" fmla="*/ 784 w 1732"/>
                  <a:gd name="T85" fmla="*/ 993 h 1252"/>
                  <a:gd name="T86" fmla="*/ 756 w 1732"/>
                  <a:gd name="T87" fmla="*/ 975 h 1252"/>
                  <a:gd name="T88" fmla="*/ 749 w 1732"/>
                  <a:gd name="T89" fmla="*/ 965 h 1252"/>
                  <a:gd name="T90" fmla="*/ 779 w 1732"/>
                  <a:gd name="T91" fmla="*/ 943 h 1252"/>
                  <a:gd name="T92" fmla="*/ 792 w 1732"/>
                  <a:gd name="T93" fmla="*/ 933 h 1252"/>
                  <a:gd name="T94" fmla="*/ 795 w 1732"/>
                  <a:gd name="T95" fmla="*/ 981 h 1252"/>
                  <a:gd name="T96" fmla="*/ 807 w 1732"/>
                  <a:gd name="T97" fmla="*/ 1001 h 1252"/>
                  <a:gd name="T98" fmla="*/ 848 w 1732"/>
                  <a:gd name="T99" fmla="*/ 1014 h 1252"/>
                  <a:gd name="T100" fmla="*/ 895 w 1732"/>
                  <a:gd name="T101" fmla="*/ 1049 h 1252"/>
                  <a:gd name="T102" fmla="*/ 940 w 1732"/>
                  <a:gd name="T103" fmla="*/ 1037 h 1252"/>
                  <a:gd name="T104" fmla="*/ 989 w 1732"/>
                  <a:gd name="T105" fmla="*/ 984 h 1252"/>
                  <a:gd name="T106" fmla="*/ 1004 w 1732"/>
                  <a:gd name="T107" fmla="*/ 993 h 1252"/>
                  <a:gd name="T108" fmla="*/ 1014 w 1732"/>
                  <a:gd name="T109" fmla="*/ 925 h 1252"/>
                  <a:gd name="T110" fmla="*/ 1037 w 1732"/>
                  <a:gd name="T111" fmla="*/ 871 h 1252"/>
                  <a:gd name="T112" fmla="*/ 593 w 1732"/>
                  <a:gd name="T113" fmla="*/ 804 h 1252"/>
                  <a:gd name="T114" fmla="*/ 245 w 1732"/>
                  <a:gd name="T115" fmla="*/ 1113 h 1252"/>
                  <a:gd name="T116" fmla="*/ 36 w 1732"/>
                  <a:gd name="T117" fmla="*/ 1197 h 1252"/>
                  <a:gd name="T118" fmla="*/ 59 w 1732"/>
                  <a:gd name="T119" fmla="*/ 1208 h 1252"/>
                  <a:gd name="T120" fmla="*/ 51 w 1732"/>
                  <a:gd name="T121" fmla="*/ 1210 h 1252"/>
                  <a:gd name="T122" fmla="*/ 38 w 1732"/>
                  <a:gd name="T123" fmla="*/ 1228 h 1252"/>
                  <a:gd name="T124" fmla="*/ 3 w 1732"/>
                  <a:gd name="T125" fmla="*/ 1246 h 1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732" h="1252">
                    <a:moveTo>
                      <a:pt x="1042" y="827"/>
                    </a:moveTo>
                    <a:lnTo>
                      <a:pt x="1040" y="818"/>
                    </a:lnTo>
                    <a:lnTo>
                      <a:pt x="1037" y="815"/>
                    </a:lnTo>
                    <a:lnTo>
                      <a:pt x="1037" y="809"/>
                    </a:lnTo>
                    <a:lnTo>
                      <a:pt x="1037" y="805"/>
                    </a:lnTo>
                    <a:lnTo>
                      <a:pt x="1035" y="805"/>
                    </a:lnTo>
                    <a:lnTo>
                      <a:pt x="1033" y="804"/>
                    </a:lnTo>
                    <a:lnTo>
                      <a:pt x="1030" y="800"/>
                    </a:lnTo>
                    <a:lnTo>
                      <a:pt x="1025" y="797"/>
                    </a:lnTo>
                    <a:lnTo>
                      <a:pt x="1025" y="795"/>
                    </a:lnTo>
                    <a:lnTo>
                      <a:pt x="1022" y="794"/>
                    </a:lnTo>
                    <a:lnTo>
                      <a:pt x="1023" y="795"/>
                    </a:lnTo>
                    <a:lnTo>
                      <a:pt x="1025" y="797"/>
                    </a:lnTo>
                    <a:lnTo>
                      <a:pt x="1030" y="799"/>
                    </a:lnTo>
                    <a:lnTo>
                      <a:pt x="1035" y="804"/>
                    </a:lnTo>
                    <a:lnTo>
                      <a:pt x="1037" y="805"/>
                    </a:lnTo>
                    <a:lnTo>
                      <a:pt x="1038" y="807"/>
                    </a:lnTo>
                    <a:lnTo>
                      <a:pt x="1040" y="809"/>
                    </a:lnTo>
                    <a:lnTo>
                      <a:pt x="1042" y="804"/>
                    </a:lnTo>
                    <a:lnTo>
                      <a:pt x="1042" y="807"/>
                    </a:lnTo>
                    <a:lnTo>
                      <a:pt x="1048" y="822"/>
                    </a:lnTo>
                    <a:lnTo>
                      <a:pt x="1050" y="827"/>
                    </a:lnTo>
                    <a:lnTo>
                      <a:pt x="1051" y="828"/>
                    </a:lnTo>
                    <a:lnTo>
                      <a:pt x="1055" y="833"/>
                    </a:lnTo>
                    <a:lnTo>
                      <a:pt x="1055" y="838"/>
                    </a:lnTo>
                    <a:lnTo>
                      <a:pt x="1051" y="840"/>
                    </a:lnTo>
                    <a:lnTo>
                      <a:pt x="1053" y="841"/>
                    </a:lnTo>
                    <a:lnTo>
                      <a:pt x="1056" y="843"/>
                    </a:lnTo>
                    <a:lnTo>
                      <a:pt x="1066" y="846"/>
                    </a:lnTo>
                    <a:lnTo>
                      <a:pt x="1073" y="845"/>
                    </a:lnTo>
                    <a:lnTo>
                      <a:pt x="1074" y="846"/>
                    </a:lnTo>
                    <a:lnTo>
                      <a:pt x="1074" y="841"/>
                    </a:lnTo>
                    <a:lnTo>
                      <a:pt x="1078" y="840"/>
                    </a:lnTo>
                    <a:lnTo>
                      <a:pt x="1086" y="835"/>
                    </a:lnTo>
                    <a:lnTo>
                      <a:pt x="1092" y="833"/>
                    </a:lnTo>
                    <a:lnTo>
                      <a:pt x="1091" y="833"/>
                    </a:lnTo>
                    <a:lnTo>
                      <a:pt x="1092" y="833"/>
                    </a:lnTo>
                    <a:lnTo>
                      <a:pt x="1092" y="830"/>
                    </a:lnTo>
                    <a:lnTo>
                      <a:pt x="1092" y="832"/>
                    </a:lnTo>
                    <a:lnTo>
                      <a:pt x="1092" y="823"/>
                    </a:lnTo>
                    <a:lnTo>
                      <a:pt x="1092" y="832"/>
                    </a:lnTo>
                    <a:lnTo>
                      <a:pt x="1092" y="833"/>
                    </a:lnTo>
                    <a:lnTo>
                      <a:pt x="1099" y="828"/>
                    </a:lnTo>
                    <a:lnTo>
                      <a:pt x="1101" y="820"/>
                    </a:lnTo>
                    <a:lnTo>
                      <a:pt x="1109" y="810"/>
                    </a:lnTo>
                    <a:lnTo>
                      <a:pt x="1115" y="807"/>
                    </a:lnTo>
                    <a:lnTo>
                      <a:pt x="1119" y="807"/>
                    </a:lnTo>
                    <a:lnTo>
                      <a:pt x="1135" y="804"/>
                    </a:lnTo>
                    <a:lnTo>
                      <a:pt x="1166" y="804"/>
                    </a:lnTo>
                    <a:lnTo>
                      <a:pt x="1168" y="797"/>
                    </a:lnTo>
                    <a:lnTo>
                      <a:pt x="1171" y="795"/>
                    </a:lnTo>
                    <a:lnTo>
                      <a:pt x="1173" y="794"/>
                    </a:lnTo>
                    <a:lnTo>
                      <a:pt x="1180" y="792"/>
                    </a:lnTo>
                    <a:lnTo>
                      <a:pt x="1193" y="795"/>
                    </a:lnTo>
                    <a:lnTo>
                      <a:pt x="1198" y="794"/>
                    </a:lnTo>
                    <a:lnTo>
                      <a:pt x="1203" y="792"/>
                    </a:lnTo>
                    <a:lnTo>
                      <a:pt x="1206" y="792"/>
                    </a:lnTo>
                    <a:lnTo>
                      <a:pt x="1219" y="784"/>
                    </a:lnTo>
                    <a:lnTo>
                      <a:pt x="1217" y="779"/>
                    </a:lnTo>
                    <a:lnTo>
                      <a:pt x="1219" y="776"/>
                    </a:lnTo>
                    <a:lnTo>
                      <a:pt x="1222" y="771"/>
                    </a:lnTo>
                    <a:lnTo>
                      <a:pt x="1222" y="766"/>
                    </a:lnTo>
                    <a:lnTo>
                      <a:pt x="1224" y="764"/>
                    </a:lnTo>
                    <a:lnTo>
                      <a:pt x="1217" y="761"/>
                    </a:lnTo>
                    <a:lnTo>
                      <a:pt x="1216" y="758"/>
                    </a:lnTo>
                    <a:lnTo>
                      <a:pt x="1222" y="751"/>
                    </a:lnTo>
                    <a:lnTo>
                      <a:pt x="1226" y="749"/>
                    </a:lnTo>
                    <a:lnTo>
                      <a:pt x="1234" y="748"/>
                    </a:lnTo>
                    <a:lnTo>
                      <a:pt x="1237" y="748"/>
                    </a:lnTo>
                    <a:lnTo>
                      <a:pt x="1240" y="743"/>
                    </a:lnTo>
                    <a:lnTo>
                      <a:pt x="1239" y="738"/>
                    </a:lnTo>
                    <a:lnTo>
                      <a:pt x="1229" y="736"/>
                    </a:lnTo>
                    <a:lnTo>
                      <a:pt x="1227" y="735"/>
                    </a:lnTo>
                    <a:lnTo>
                      <a:pt x="1222" y="733"/>
                    </a:lnTo>
                    <a:lnTo>
                      <a:pt x="1219" y="731"/>
                    </a:lnTo>
                    <a:lnTo>
                      <a:pt x="1214" y="731"/>
                    </a:lnTo>
                    <a:lnTo>
                      <a:pt x="1217" y="728"/>
                    </a:lnTo>
                    <a:lnTo>
                      <a:pt x="1219" y="726"/>
                    </a:lnTo>
                    <a:lnTo>
                      <a:pt x="1221" y="720"/>
                    </a:lnTo>
                    <a:lnTo>
                      <a:pt x="1224" y="718"/>
                    </a:lnTo>
                    <a:lnTo>
                      <a:pt x="1226" y="716"/>
                    </a:lnTo>
                    <a:lnTo>
                      <a:pt x="1230" y="716"/>
                    </a:lnTo>
                    <a:lnTo>
                      <a:pt x="1240" y="711"/>
                    </a:lnTo>
                    <a:lnTo>
                      <a:pt x="1244" y="713"/>
                    </a:lnTo>
                    <a:lnTo>
                      <a:pt x="1244" y="711"/>
                    </a:lnTo>
                    <a:lnTo>
                      <a:pt x="1245" y="711"/>
                    </a:lnTo>
                    <a:lnTo>
                      <a:pt x="1255" y="710"/>
                    </a:lnTo>
                    <a:lnTo>
                      <a:pt x="1255" y="713"/>
                    </a:lnTo>
                    <a:lnTo>
                      <a:pt x="1260" y="711"/>
                    </a:lnTo>
                    <a:lnTo>
                      <a:pt x="1260" y="710"/>
                    </a:lnTo>
                    <a:lnTo>
                      <a:pt x="1265" y="708"/>
                    </a:lnTo>
                    <a:lnTo>
                      <a:pt x="1267" y="703"/>
                    </a:lnTo>
                    <a:lnTo>
                      <a:pt x="1270" y="708"/>
                    </a:lnTo>
                    <a:lnTo>
                      <a:pt x="1275" y="710"/>
                    </a:lnTo>
                    <a:lnTo>
                      <a:pt x="1276" y="707"/>
                    </a:lnTo>
                    <a:lnTo>
                      <a:pt x="1285" y="705"/>
                    </a:lnTo>
                    <a:lnTo>
                      <a:pt x="1285" y="703"/>
                    </a:lnTo>
                    <a:lnTo>
                      <a:pt x="1286" y="702"/>
                    </a:lnTo>
                    <a:lnTo>
                      <a:pt x="1288" y="703"/>
                    </a:lnTo>
                    <a:lnTo>
                      <a:pt x="1298" y="702"/>
                    </a:lnTo>
                    <a:lnTo>
                      <a:pt x="1301" y="703"/>
                    </a:lnTo>
                    <a:lnTo>
                      <a:pt x="1301" y="700"/>
                    </a:lnTo>
                    <a:lnTo>
                      <a:pt x="1303" y="700"/>
                    </a:lnTo>
                    <a:lnTo>
                      <a:pt x="1308" y="697"/>
                    </a:lnTo>
                    <a:lnTo>
                      <a:pt x="1313" y="697"/>
                    </a:lnTo>
                    <a:lnTo>
                      <a:pt x="1319" y="690"/>
                    </a:lnTo>
                    <a:lnTo>
                      <a:pt x="1322" y="693"/>
                    </a:lnTo>
                    <a:lnTo>
                      <a:pt x="1324" y="690"/>
                    </a:lnTo>
                    <a:lnTo>
                      <a:pt x="1331" y="692"/>
                    </a:lnTo>
                    <a:lnTo>
                      <a:pt x="1332" y="695"/>
                    </a:lnTo>
                    <a:lnTo>
                      <a:pt x="1337" y="692"/>
                    </a:lnTo>
                    <a:lnTo>
                      <a:pt x="1337" y="688"/>
                    </a:lnTo>
                    <a:lnTo>
                      <a:pt x="1336" y="687"/>
                    </a:lnTo>
                    <a:lnTo>
                      <a:pt x="1332" y="679"/>
                    </a:lnTo>
                    <a:lnTo>
                      <a:pt x="1334" y="679"/>
                    </a:lnTo>
                    <a:lnTo>
                      <a:pt x="1336" y="670"/>
                    </a:lnTo>
                    <a:lnTo>
                      <a:pt x="1339" y="669"/>
                    </a:lnTo>
                    <a:lnTo>
                      <a:pt x="1339" y="665"/>
                    </a:lnTo>
                    <a:lnTo>
                      <a:pt x="1336" y="661"/>
                    </a:lnTo>
                    <a:lnTo>
                      <a:pt x="1337" y="661"/>
                    </a:lnTo>
                    <a:lnTo>
                      <a:pt x="1339" y="659"/>
                    </a:lnTo>
                    <a:lnTo>
                      <a:pt x="1341" y="657"/>
                    </a:lnTo>
                    <a:lnTo>
                      <a:pt x="1342" y="657"/>
                    </a:lnTo>
                    <a:lnTo>
                      <a:pt x="1341" y="654"/>
                    </a:lnTo>
                    <a:lnTo>
                      <a:pt x="1342" y="651"/>
                    </a:lnTo>
                    <a:lnTo>
                      <a:pt x="1342" y="649"/>
                    </a:lnTo>
                    <a:lnTo>
                      <a:pt x="1341" y="646"/>
                    </a:lnTo>
                    <a:lnTo>
                      <a:pt x="1342" y="642"/>
                    </a:lnTo>
                    <a:lnTo>
                      <a:pt x="1339" y="641"/>
                    </a:lnTo>
                    <a:lnTo>
                      <a:pt x="1342" y="638"/>
                    </a:lnTo>
                    <a:lnTo>
                      <a:pt x="1344" y="641"/>
                    </a:lnTo>
                    <a:lnTo>
                      <a:pt x="1347" y="639"/>
                    </a:lnTo>
                    <a:lnTo>
                      <a:pt x="1350" y="638"/>
                    </a:lnTo>
                    <a:lnTo>
                      <a:pt x="1350" y="636"/>
                    </a:lnTo>
                    <a:lnTo>
                      <a:pt x="1354" y="641"/>
                    </a:lnTo>
                    <a:lnTo>
                      <a:pt x="1357" y="639"/>
                    </a:lnTo>
                    <a:lnTo>
                      <a:pt x="1360" y="636"/>
                    </a:lnTo>
                    <a:lnTo>
                      <a:pt x="1360" y="633"/>
                    </a:lnTo>
                    <a:lnTo>
                      <a:pt x="1357" y="631"/>
                    </a:lnTo>
                    <a:lnTo>
                      <a:pt x="1359" y="629"/>
                    </a:lnTo>
                    <a:lnTo>
                      <a:pt x="1359" y="628"/>
                    </a:lnTo>
                    <a:lnTo>
                      <a:pt x="1364" y="628"/>
                    </a:lnTo>
                    <a:lnTo>
                      <a:pt x="1364" y="631"/>
                    </a:lnTo>
                    <a:lnTo>
                      <a:pt x="1367" y="633"/>
                    </a:lnTo>
                    <a:lnTo>
                      <a:pt x="1372" y="631"/>
                    </a:lnTo>
                    <a:lnTo>
                      <a:pt x="1375" y="631"/>
                    </a:lnTo>
                    <a:lnTo>
                      <a:pt x="1380" y="641"/>
                    </a:lnTo>
                    <a:lnTo>
                      <a:pt x="1380" y="642"/>
                    </a:lnTo>
                    <a:lnTo>
                      <a:pt x="1385" y="647"/>
                    </a:lnTo>
                    <a:lnTo>
                      <a:pt x="1385" y="651"/>
                    </a:lnTo>
                    <a:lnTo>
                      <a:pt x="1388" y="651"/>
                    </a:lnTo>
                    <a:lnTo>
                      <a:pt x="1391" y="656"/>
                    </a:lnTo>
                    <a:lnTo>
                      <a:pt x="1396" y="651"/>
                    </a:lnTo>
                    <a:lnTo>
                      <a:pt x="1395" y="646"/>
                    </a:lnTo>
                    <a:lnTo>
                      <a:pt x="1400" y="644"/>
                    </a:lnTo>
                    <a:lnTo>
                      <a:pt x="1403" y="644"/>
                    </a:lnTo>
                    <a:lnTo>
                      <a:pt x="1406" y="649"/>
                    </a:lnTo>
                    <a:lnTo>
                      <a:pt x="1411" y="647"/>
                    </a:lnTo>
                    <a:lnTo>
                      <a:pt x="1411" y="646"/>
                    </a:lnTo>
                    <a:lnTo>
                      <a:pt x="1416" y="642"/>
                    </a:lnTo>
                    <a:lnTo>
                      <a:pt x="1431" y="639"/>
                    </a:lnTo>
                    <a:lnTo>
                      <a:pt x="1431" y="636"/>
                    </a:lnTo>
                    <a:lnTo>
                      <a:pt x="1428" y="634"/>
                    </a:lnTo>
                    <a:lnTo>
                      <a:pt x="1419" y="633"/>
                    </a:lnTo>
                    <a:lnTo>
                      <a:pt x="1418" y="626"/>
                    </a:lnTo>
                    <a:lnTo>
                      <a:pt x="1419" y="623"/>
                    </a:lnTo>
                    <a:lnTo>
                      <a:pt x="1419" y="621"/>
                    </a:lnTo>
                    <a:lnTo>
                      <a:pt x="1423" y="619"/>
                    </a:lnTo>
                    <a:lnTo>
                      <a:pt x="1424" y="614"/>
                    </a:lnTo>
                    <a:lnTo>
                      <a:pt x="1429" y="611"/>
                    </a:lnTo>
                    <a:lnTo>
                      <a:pt x="1436" y="605"/>
                    </a:lnTo>
                    <a:lnTo>
                      <a:pt x="1434" y="600"/>
                    </a:lnTo>
                    <a:lnTo>
                      <a:pt x="1433" y="596"/>
                    </a:lnTo>
                    <a:lnTo>
                      <a:pt x="1431" y="596"/>
                    </a:lnTo>
                    <a:lnTo>
                      <a:pt x="1429" y="593"/>
                    </a:lnTo>
                    <a:lnTo>
                      <a:pt x="1429" y="588"/>
                    </a:lnTo>
                    <a:lnTo>
                      <a:pt x="1436" y="583"/>
                    </a:lnTo>
                    <a:lnTo>
                      <a:pt x="1437" y="583"/>
                    </a:lnTo>
                    <a:lnTo>
                      <a:pt x="1446" y="583"/>
                    </a:lnTo>
                    <a:lnTo>
                      <a:pt x="1449" y="585"/>
                    </a:lnTo>
                    <a:lnTo>
                      <a:pt x="1457" y="590"/>
                    </a:lnTo>
                    <a:lnTo>
                      <a:pt x="1465" y="588"/>
                    </a:lnTo>
                    <a:lnTo>
                      <a:pt x="1470" y="593"/>
                    </a:lnTo>
                    <a:lnTo>
                      <a:pt x="1475" y="596"/>
                    </a:lnTo>
                    <a:lnTo>
                      <a:pt x="1480" y="605"/>
                    </a:lnTo>
                    <a:lnTo>
                      <a:pt x="1483" y="606"/>
                    </a:lnTo>
                    <a:lnTo>
                      <a:pt x="1485" y="613"/>
                    </a:lnTo>
                    <a:lnTo>
                      <a:pt x="1485" y="618"/>
                    </a:lnTo>
                    <a:lnTo>
                      <a:pt x="1490" y="621"/>
                    </a:lnTo>
                    <a:lnTo>
                      <a:pt x="1490" y="626"/>
                    </a:lnTo>
                    <a:lnTo>
                      <a:pt x="1492" y="628"/>
                    </a:lnTo>
                    <a:lnTo>
                      <a:pt x="1500" y="636"/>
                    </a:lnTo>
                    <a:lnTo>
                      <a:pt x="1508" y="639"/>
                    </a:lnTo>
                    <a:lnTo>
                      <a:pt x="1508" y="644"/>
                    </a:lnTo>
                    <a:lnTo>
                      <a:pt x="1511" y="651"/>
                    </a:lnTo>
                    <a:lnTo>
                      <a:pt x="1516" y="659"/>
                    </a:lnTo>
                    <a:lnTo>
                      <a:pt x="1518" y="656"/>
                    </a:lnTo>
                    <a:lnTo>
                      <a:pt x="1526" y="656"/>
                    </a:lnTo>
                    <a:lnTo>
                      <a:pt x="1528" y="654"/>
                    </a:lnTo>
                    <a:lnTo>
                      <a:pt x="1531" y="647"/>
                    </a:lnTo>
                    <a:lnTo>
                      <a:pt x="1539" y="642"/>
                    </a:lnTo>
                    <a:lnTo>
                      <a:pt x="1543" y="644"/>
                    </a:lnTo>
                    <a:lnTo>
                      <a:pt x="1554" y="641"/>
                    </a:lnTo>
                    <a:lnTo>
                      <a:pt x="1557" y="636"/>
                    </a:lnTo>
                    <a:lnTo>
                      <a:pt x="1561" y="634"/>
                    </a:lnTo>
                    <a:lnTo>
                      <a:pt x="1564" y="633"/>
                    </a:lnTo>
                    <a:lnTo>
                      <a:pt x="1567" y="634"/>
                    </a:lnTo>
                    <a:lnTo>
                      <a:pt x="1569" y="638"/>
                    </a:lnTo>
                    <a:lnTo>
                      <a:pt x="1577" y="629"/>
                    </a:lnTo>
                    <a:lnTo>
                      <a:pt x="1592" y="628"/>
                    </a:lnTo>
                    <a:lnTo>
                      <a:pt x="1594" y="626"/>
                    </a:lnTo>
                    <a:lnTo>
                      <a:pt x="1595" y="624"/>
                    </a:lnTo>
                    <a:lnTo>
                      <a:pt x="1595" y="626"/>
                    </a:lnTo>
                    <a:lnTo>
                      <a:pt x="1595" y="634"/>
                    </a:lnTo>
                    <a:lnTo>
                      <a:pt x="1595" y="636"/>
                    </a:lnTo>
                    <a:lnTo>
                      <a:pt x="1603" y="624"/>
                    </a:lnTo>
                    <a:lnTo>
                      <a:pt x="1608" y="623"/>
                    </a:lnTo>
                    <a:lnTo>
                      <a:pt x="1610" y="626"/>
                    </a:lnTo>
                    <a:lnTo>
                      <a:pt x="1617" y="636"/>
                    </a:lnTo>
                    <a:lnTo>
                      <a:pt x="1618" y="633"/>
                    </a:lnTo>
                    <a:lnTo>
                      <a:pt x="1626" y="634"/>
                    </a:lnTo>
                    <a:lnTo>
                      <a:pt x="1631" y="636"/>
                    </a:lnTo>
                    <a:lnTo>
                      <a:pt x="1640" y="641"/>
                    </a:lnTo>
                    <a:lnTo>
                      <a:pt x="1641" y="641"/>
                    </a:lnTo>
                    <a:lnTo>
                      <a:pt x="1649" y="641"/>
                    </a:lnTo>
                    <a:lnTo>
                      <a:pt x="1658" y="651"/>
                    </a:lnTo>
                    <a:lnTo>
                      <a:pt x="1659" y="652"/>
                    </a:lnTo>
                    <a:lnTo>
                      <a:pt x="1661" y="652"/>
                    </a:lnTo>
                    <a:lnTo>
                      <a:pt x="1664" y="656"/>
                    </a:lnTo>
                    <a:lnTo>
                      <a:pt x="1671" y="659"/>
                    </a:lnTo>
                    <a:lnTo>
                      <a:pt x="1672" y="657"/>
                    </a:lnTo>
                    <a:lnTo>
                      <a:pt x="1679" y="651"/>
                    </a:lnTo>
                    <a:lnTo>
                      <a:pt x="1684" y="652"/>
                    </a:lnTo>
                    <a:lnTo>
                      <a:pt x="1686" y="651"/>
                    </a:lnTo>
                    <a:lnTo>
                      <a:pt x="1690" y="639"/>
                    </a:lnTo>
                    <a:lnTo>
                      <a:pt x="1687" y="639"/>
                    </a:lnTo>
                    <a:lnTo>
                      <a:pt x="1686" y="638"/>
                    </a:lnTo>
                    <a:lnTo>
                      <a:pt x="1686" y="634"/>
                    </a:lnTo>
                    <a:lnTo>
                      <a:pt x="1682" y="633"/>
                    </a:lnTo>
                    <a:lnTo>
                      <a:pt x="1682" y="628"/>
                    </a:lnTo>
                    <a:lnTo>
                      <a:pt x="1684" y="626"/>
                    </a:lnTo>
                    <a:lnTo>
                      <a:pt x="1687" y="626"/>
                    </a:lnTo>
                    <a:lnTo>
                      <a:pt x="1689" y="628"/>
                    </a:lnTo>
                    <a:lnTo>
                      <a:pt x="1690" y="626"/>
                    </a:lnTo>
                    <a:lnTo>
                      <a:pt x="1687" y="624"/>
                    </a:lnTo>
                    <a:lnTo>
                      <a:pt x="1689" y="623"/>
                    </a:lnTo>
                    <a:lnTo>
                      <a:pt x="1690" y="624"/>
                    </a:lnTo>
                    <a:lnTo>
                      <a:pt x="1692" y="623"/>
                    </a:lnTo>
                    <a:lnTo>
                      <a:pt x="1690" y="618"/>
                    </a:lnTo>
                    <a:lnTo>
                      <a:pt x="1692" y="614"/>
                    </a:lnTo>
                    <a:lnTo>
                      <a:pt x="1686" y="610"/>
                    </a:lnTo>
                    <a:lnTo>
                      <a:pt x="1681" y="610"/>
                    </a:lnTo>
                    <a:lnTo>
                      <a:pt x="1679" y="605"/>
                    </a:lnTo>
                    <a:lnTo>
                      <a:pt x="1682" y="585"/>
                    </a:lnTo>
                    <a:lnTo>
                      <a:pt x="1679" y="577"/>
                    </a:lnTo>
                    <a:lnTo>
                      <a:pt x="1679" y="575"/>
                    </a:lnTo>
                    <a:lnTo>
                      <a:pt x="1682" y="570"/>
                    </a:lnTo>
                    <a:lnTo>
                      <a:pt x="1681" y="565"/>
                    </a:lnTo>
                    <a:lnTo>
                      <a:pt x="1682" y="562"/>
                    </a:lnTo>
                    <a:lnTo>
                      <a:pt x="1677" y="557"/>
                    </a:lnTo>
                    <a:lnTo>
                      <a:pt x="1672" y="557"/>
                    </a:lnTo>
                    <a:lnTo>
                      <a:pt x="1669" y="557"/>
                    </a:lnTo>
                    <a:lnTo>
                      <a:pt x="1671" y="552"/>
                    </a:lnTo>
                    <a:lnTo>
                      <a:pt x="1672" y="540"/>
                    </a:lnTo>
                    <a:lnTo>
                      <a:pt x="1672" y="539"/>
                    </a:lnTo>
                    <a:lnTo>
                      <a:pt x="1666" y="527"/>
                    </a:lnTo>
                    <a:lnTo>
                      <a:pt x="1667" y="526"/>
                    </a:lnTo>
                    <a:lnTo>
                      <a:pt x="1667" y="524"/>
                    </a:lnTo>
                    <a:lnTo>
                      <a:pt x="1667" y="521"/>
                    </a:lnTo>
                    <a:lnTo>
                      <a:pt x="1659" y="514"/>
                    </a:lnTo>
                    <a:lnTo>
                      <a:pt x="1661" y="508"/>
                    </a:lnTo>
                    <a:lnTo>
                      <a:pt x="1672" y="504"/>
                    </a:lnTo>
                    <a:lnTo>
                      <a:pt x="1681" y="506"/>
                    </a:lnTo>
                    <a:lnTo>
                      <a:pt x="1684" y="496"/>
                    </a:lnTo>
                    <a:lnTo>
                      <a:pt x="1684" y="494"/>
                    </a:lnTo>
                    <a:lnTo>
                      <a:pt x="1689" y="491"/>
                    </a:lnTo>
                    <a:lnTo>
                      <a:pt x="1689" y="486"/>
                    </a:lnTo>
                    <a:lnTo>
                      <a:pt x="1692" y="488"/>
                    </a:lnTo>
                    <a:lnTo>
                      <a:pt x="1692" y="486"/>
                    </a:lnTo>
                    <a:lnTo>
                      <a:pt x="1700" y="485"/>
                    </a:lnTo>
                    <a:lnTo>
                      <a:pt x="1705" y="486"/>
                    </a:lnTo>
                    <a:lnTo>
                      <a:pt x="1712" y="491"/>
                    </a:lnTo>
                    <a:lnTo>
                      <a:pt x="1715" y="488"/>
                    </a:lnTo>
                    <a:lnTo>
                      <a:pt x="1717" y="481"/>
                    </a:lnTo>
                    <a:lnTo>
                      <a:pt x="1713" y="481"/>
                    </a:lnTo>
                    <a:lnTo>
                      <a:pt x="1715" y="473"/>
                    </a:lnTo>
                    <a:lnTo>
                      <a:pt x="1712" y="470"/>
                    </a:lnTo>
                    <a:lnTo>
                      <a:pt x="1715" y="467"/>
                    </a:lnTo>
                    <a:lnTo>
                      <a:pt x="1718" y="467"/>
                    </a:lnTo>
                    <a:lnTo>
                      <a:pt x="1718" y="463"/>
                    </a:lnTo>
                    <a:lnTo>
                      <a:pt x="1720" y="462"/>
                    </a:lnTo>
                    <a:lnTo>
                      <a:pt x="1717" y="460"/>
                    </a:lnTo>
                    <a:lnTo>
                      <a:pt x="1718" y="455"/>
                    </a:lnTo>
                    <a:lnTo>
                      <a:pt x="1717" y="452"/>
                    </a:lnTo>
                    <a:lnTo>
                      <a:pt x="1715" y="450"/>
                    </a:lnTo>
                    <a:lnTo>
                      <a:pt x="1717" y="439"/>
                    </a:lnTo>
                    <a:lnTo>
                      <a:pt x="1722" y="437"/>
                    </a:lnTo>
                    <a:lnTo>
                      <a:pt x="1727" y="443"/>
                    </a:lnTo>
                    <a:lnTo>
                      <a:pt x="1728" y="443"/>
                    </a:lnTo>
                    <a:lnTo>
                      <a:pt x="1732" y="434"/>
                    </a:lnTo>
                    <a:lnTo>
                      <a:pt x="1728" y="429"/>
                    </a:lnTo>
                    <a:lnTo>
                      <a:pt x="1727" y="429"/>
                    </a:lnTo>
                    <a:lnTo>
                      <a:pt x="1727" y="425"/>
                    </a:lnTo>
                    <a:lnTo>
                      <a:pt x="1727" y="424"/>
                    </a:lnTo>
                    <a:lnTo>
                      <a:pt x="1728" y="424"/>
                    </a:lnTo>
                    <a:lnTo>
                      <a:pt x="1728" y="422"/>
                    </a:lnTo>
                    <a:lnTo>
                      <a:pt x="1728" y="420"/>
                    </a:lnTo>
                    <a:lnTo>
                      <a:pt x="1727" y="420"/>
                    </a:lnTo>
                    <a:lnTo>
                      <a:pt x="1722" y="419"/>
                    </a:lnTo>
                    <a:lnTo>
                      <a:pt x="1722" y="416"/>
                    </a:lnTo>
                    <a:lnTo>
                      <a:pt x="1717" y="416"/>
                    </a:lnTo>
                    <a:lnTo>
                      <a:pt x="1712" y="409"/>
                    </a:lnTo>
                    <a:lnTo>
                      <a:pt x="1707" y="406"/>
                    </a:lnTo>
                    <a:lnTo>
                      <a:pt x="1707" y="404"/>
                    </a:lnTo>
                    <a:lnTo>
                      <a:pt x="1709" y="397"/>
                    </a:lnTo>
                    <a:lnTo>
                      <a:pt x="1705" y="399"/>
                    </a:lnTo>
                    <a:lnTo>
                      <a:pt x="1705" y="396"/>
                    </a:lnTo>
                    <a:lnTo>
                      <a:pt x="1702" y="394"/>
                    </a:lnTo>
                    <a:lnTo>
                      <a:pt x="1704" y="391"/>
                    </a:lnTo>
                    <a:lnTo>
                      <a:pt x="1707" y="393"/>
                    </a:lnTo>
                    <a:lnTo>
                      <a:pt x="1712" y="389"/>
                    </a:lnTo>
                    <a:lnTo>
                      <a:pt x="1718" y="391"/>
                    </a:lnTo>
                    <a:lnTo>
                      <a:pt x="1715" y="388"/>
                    </a:lnTo>
                    <a:lnTo>
                      <a:pt x="1718" y="383"/>
                    </a:lnTo>
                    <a:lnTo>
                      <a:pt x="1718" y="376"/>
                    </a:lnTo>
                    <a:lnTo>
                      <a:pt x="1717" y="373"/>
                    </a:lnTo>
                    <a:lnTo>
                      <a:pt x="1712" y="371"/>
                    </a:lnTo>
                    <a:lnTo>
                      <a:pt x="1707" y="365"/>
                    </a:lnTo>
                    <a:lnTo>
                      <a:pt x="1705" y="361"/>
                    </a:lnTo>
                    <a:lnTo>
                      <a:pt x="1704" y="360"/>
                    </a:lnTo>
                    <a:lnTo>
                      <a:pt x="1702" y="355"/>
                    </a:lnTo>
                    <a:lnTo>
                      <a:pt x="1699" y="350"/>
                    </a:lnTo>
                    <a:lnTo>
                      <a:pt x="1697" y="343"/>
                    </a:lnTo>
                    <a:lnTo>
                      <a:pt x="1697" y="333"/>
                    </a:lnTo>
                    <a:lnTo>
                      <a:pt x="1690" y="337"/>
                    </a:lnTo>
                    <a:lnTo>
                      <a:pt x="1689" y="333"/>
                    </a:lnTo>
                    <a:lnTo>
                      <a:pt x="1689" y="332"/>
                    </a:lnTo>
                    <a:lnTo>
                      <a:pt x="1676" y="310"/>
                    </a:lnTo>
                    <a:lnTo>
                      <a:pt x="1674" y="305"/>
                    </a:lnTo>
                    <a:lnTo>
                      <a:pt x="1676" y="304"/>
                    </a:lnTo>
                    <a:lnTo>
                      <a:pt x="1674" y="302"/>
                    </a:lnTo>
                    <a:lnTo>
                      <a:pt x="1679" y="300"/>
                    </a:lnTo>
                    <a:lnTo>
                      <a:pt x="1677" y="292"/>
                    </a:lnTo>
                    <a:lnTo>
                      <a:pt x="1679" y="292"/>
                    </a:lnTo>
                    <a:lnTo>
                      <a:pt x="1681" y="294"/>
                    </a:lnTo>
                    <a:lnTo>
                      <a:pt x="1684" y="292"/>
                    </a:lnTo>
                    <a:lnTo>
                      <a:pt x="1686" y="294"/>
                    </a:lnTo>
                    <a:lnTo>
                      <a:pt x="1690" y="292"/>
                    </a:lnTo>
                    <a:lnTo>
                      <a:pt x="1697" y="284"/>
                    </a:lnTo>
                    <a:lnTo>
                      <a:pt x="1694" y="277"/>
                    </a:lnTo>
                    <a:lnTo>
                      <a:pt x="1689" y="274"/>
                    </a:lnTo>
                    <a:lnTo>
                      <a:pt x="1687" y="274"/>
                    </a:lnTo>
                    <a:lnTo>
                      <a:pt x="1686" y="272"/>
                    </a:lnTo>
                    <a:lnTo>
                      <a:pt x="1674" y="274"/>
                    </a:lnTo>
                    <a:lnTo>
                      <a:pt x="1671" y="271"/>
                    </a:lnTo>
                    <a:lnTo>
                      <a:pt x="1669" y="268"/>
                    </a:lnTo>
                    <a:lnTo>
                      <a:pt x="1666" y="268"/>
                    </a:lnTo>
                    <a:lnTo>
                      <a:pt x="1664" y="266"/>
                    </a:lnTo>
                    <a:lnTo>
                      <a:pt x="1661" y="261"/>
                    </a:lnTo>
                    <a:lnTo>
                      <a:pt x="1659" y="261"/>
                    </a:lnTo>
                    <a:lnTo>
                      <a:pt x="1661" y="259"/>
                    </a:lnTo>
                    <a:lnTo>
                      <a:pt x="1659" y="254"/>
                    </a:lnTo>
                    <a:lnTo>
                      <a:pt x="1656" y="251"/>
                    </a:lnTo>
                    <a:lnTo>
                      <a:pt x="1658" y="245"/>
                    </a:lnTo>
                    <a:lnTo>
                      <a:pt x="1663" y="240"/>
                    </a:lnTo>
                    <a:lnTo>
                      <a:pt x="1664" y="240"/>
                    </a:lnTo>
                    <a:lnTo>
                      <a:pt x="1666" y="245"/>
                    </a:lnTo>
                    <a:lnTo>
                      <a:pt x="1667" y="245"/>
                    </a:lnTo>
                    <a:lnTo>
                      <a:pt x="1676" y="243"/>
                    </a:lnTo>
                    <a:lnTo>
                      <a:pt x="1674" y="243"/>
                    </a:lnTo>
                    <a:lnTo>
                      <a:pt x="1672" y="236"/>
                    </a:lnTo>
                    <a:lnTo>
                      <a:pt x="1669" y="236"/>
                    </a:lnTo>
                    <a:lnTo>
                      <a:pt x="1663" y="228"/>
                    </a:lnTo>
                    <a:lnTo>
                      <a:pt x="1659" y="222"/>
                    </a:lnTo>
                    <a:lnTo>
                      <a:pt x="1658" y="220"/>
                    </a:lnTo>
                    <a:lnTo>
                      <a:pt x="1663" y="217"/>
                    </a:lnTo>
                    <a:lnTo>
                      <a:pt x="1661" y="212"/>
                    </a:lnTo>
                    <a:lnTo>
                      <a:pt x="1659" y="207"/>
                    </a:lnTo>
                    <a:lnTo>
                      <a:pt x="1656" y="194"/>
                    </a:lnTo>
                    <a:lnTo>
                      <a:pt x="1649" y="187"/>
                    </a:lnTo>
                    <a:lnTo>
                      <a:pt x="1663" y="177"/>
                    </a:lnTo>
                    <a:lnTo>
                      <a:pt x="1663" y="175"/>
                    </a:lnTo>
                    <a:lnTo>
                      <a:pt x="1664" y="167"/>
                    </a:lnTo>
                    <a:lnTo>
                      <a:pt x="1664" y="169"/>
                    </a:lnTo>
                    <a:lnTo>
                      <a:pt x="1661" y="157"/>
                    </a:lnTo>
                    <a:lnTo>
                      <a:pt x="1666" y="149"/>
                    </a:lnTo>
                    <a:lnTo>
                      <a:pt x="1664" y="148"/>
                    </a:lnTo>
                    <a:lnTo>
                      <a:pt x="1661" y="139"/>
                    </a:lnTo>
                    <a:lnTo>
                      <a:pt x="1667" y="134"/>
                    </a:lnTo>
                    <a:lnTo>
                      <a:pt x="1667" y="131"/>
                    </a:lnTo>
                    <a:lnTo>
                      <a:pt x="1672" y="123"/>
                    </a:lnTo>
                    <a:lnTo>
                      <a:pt x="1674" y="123"/>
                    </a:lnTo>
                    <a:lnTo>
                      <a:pt x="1676" y="123"/>
                    </a:lnTo>
                    <a:lnTo>
                      <a:pt x="1681" y="121"/>
                    </a:lnTo>
                    <a:lnTo>
                      <a:pt x="1681" y="118"/>
                    </a:lnTo>
                    <a:lnTo>
                      <a:pt x="1679" y="113"/>
                    </a:lnTo>
                    <a:lnTo>
                      <a:pt x="1676" y="113"/>
                    </a:lnTo>
                    <a:lnTo>
                      <a:pt x="1677" y="108"/>
                    </a:lnTo>
                    <a:lnTo>
                      <a:pt x="1676" y="108"/>
                    </a:lnTo>
                    <a:lnTo>
                      <a:pt x="1687" y="98"/>
                    </a:lnTo>
                    <a:lnTo>
                      <a:pt x="1681" y="88"/>
                    </a:lnTo>
                    <a:lnTo>
                      <a:pt x="1676" y="88"/>
                    </a:lnTo>
                    <a:lnTo>
                      <a:pt x="1674" y="87"/>
                    </a:lnTo>
                    <a:lnTo>
                      <a:pt x="1672" y="88"/>
                    </a:lnTo>
                    <a:lnTo>
                      <a:pt x="1674" y="85"/>
                    </a:lnTo>
                    <a:lnTo>
                      <a:pt x="1669" y="83"/>
                    </a:lnTo>
                    <a:lnTo>
                      <a:pt x="1667" y="77"/>
                    </a:lnTo>
                    <a:lnTo>
                      <a:pt x="1669" y="74"/>
                    </a:lnTo>
                    <a:lnTo>
                      <a:pt x="1669" y="70"/>
                    </a:lnTo>
                    <a:lnTo>
                      <a:pt x="1667" y="67"/>
                    </a:lnTo>
                    <a:lnTo>
                      <a:pt x="1674" y="60"/>
                    </a:lnTo>
                    <a:lnTo>
                      <a:pt x="1676" y="59"/>
                    </a:lnTo>
                    <a:lnTo>
                      <a:pt x="1679" y="52"/>
                    </a:lnTo>
                    <a:lnTo>
                      <a:pt x="1682" y="47"/>
                    </a:lnTo>
                    <a:lnTo>
                      <a:pt x="1686" y="47"/>
                    </a:lnTo>
                    <a:lnTo>
                      <a:pt x="1686" y="46"/>
                    </a:lnTo>
                    <a:lnTo>
                      <a:pt x="1686" y="44"/>
                    </a:lnTo>
                    <a:lnTo>
                      <a:pt x="1684" y="41"/>
                    </a:lnTo>
                    <a:lnTo>
                      <a:pt x="1674" y="44"/>
                    </a:lnTo>
                    <a:lnTo>
                      <a:pt x="1672" y="44"/>
                    </a:lnTo>
                    <a:lnTo>
                      <a:pt x="1671" y="46"/>
                    </a:lnTo>
                    <a:lnTo>
                      <a:pt x="1669" y="44"/>
                    </a:lnTo>
                    <a:lnTo>
                      <a:pt x="1667" y="42"/>
                    </a:lnTo>
                    <a:lnTo>
                      <a:pt x="1659" y="41"/>
                    </a:lnTo>
                    <a:lnTo>
                      <a:pt x="1661" y="32"/>
                    </a:lnTo>
                    <a:lnTo>
                      <a:pt x="1658" y="32"/>
                    </a:lnTo>
                    <a:lnTo>
                      <a:pt x="1654" y="29"/>
                    </a:lnTo>
                    <a:lnTo>
                      <a:pt x="1656" y="23"/>
                    </a:lnTo>
                    <a:lnTo>
                      <a:pt x="1653" y="21"/>
                    </a:lnTo>
                    <a:lnTo>
                      <a:pt x="1653" y="26"/>
                    </a:lnTo>
                    <a:lnTo>
                      <a:pt x="1646" y="23"/>
                    </a:lnTo>
                    <a:lnTo>
                      <a:pt x="1646" y="18"/>
                    </a:lnTo>
                    <a:lnTo>
                      <a:pt x="1646" y="6"/>
                    </a:lnTo>
                    <a:lnTo>
                      <a:pt x="1643" y="11"/>
                    </a:lnTo>
                    <a:lnTo>
                      <a:pt x="1638" y="8"/>
                    </a:lnTo>
                    <a:lnTo>
                      <a:pt x="1633" y="0"/>
                    </a:lnTo>
                    <a:lnTo>
                      <a:pt x="1625" y="3"/>
                    </a:lnTo>
                    <a:lnTo>
                      <a:pt x="1625" y="6"/>
                    </a:lnTo>
                    <a:lnTo>
                      <a:pt x="1623" y="6"/>
                    </a:lnTo>
                    <a:lnTo>
                      <a:pt x="1620" y="9"/>
                    </a:lnTo>
                    <a:lnTo>
                      <a:pt x="1617" y="19"/>
                    </a:lnTo>
                    <a:lnTo>
                      <a:pt x="1615" y="14"/>
                    </a:lnTo>
                    <a:lnTo>
                      <a:pt x="1610" y="23"/>
                    </a:lnTo>
                    <a:lnTo>
                      <a:pt x="1605" y="18"/>
                    </a:lnTo>
                    <a:lnTo>
                      <a:pt x="1603" y="23"/>
                    </a:lnTo>
                    <a:lnTo>
                      <a:pt x="1602" y="21"/>
                    </a:lnTo>
                    <a:lnTo>
                      <a:pt x="1597" y="21"/>
                    </a:lnTo>
                    <a:lnTo>
                      <a:pt x="1597" y="23"/>
                    </a:lnTo>
                    <a:lnTo>
                      <a:pt x="1597" y="26"/>
                    </a:lnTo>
                    <a:lnTo>
                      <a:pt x="1598" y="26"/>
                    </a:lnTo>
                    <a:lnTo>
                      <a:pt x="1600" y="27"/>
                    </a:lnTo>
                    <a:lnTo>
                      <a:pt x="1600" y="32"/>
                    </a:lnTo>
                    <a:lnTo>
                      <a:pt x="1605" y="37"/>
                    </a:lnTo>
                    <a:lnTo>
                      <a:pt x="1608" y="39"/>
                    </a:lnTo>
                    <a:lnTo>
                      <a:pt x="1612" y="41"/>
                    </a:lnTo>
                    <a:lnTo>
                      <a:pt x="1612" y="44"/>
                    </a:lnTo>
                    <a:lnTo>
                      <a:pt x="1613" y="46"/>
                    </a:lnTo>
                    <a:lnTo>
                      <a:pt x="1608" y="51"/>
                    </a:lnTo>
                    <a:lnTo>
                      <a:pt x="1610" y="59"/>
                    </a:lnTo>
                    <a:lnTo>
                      <a:pt x="1608" y="60"/>
                    </a:lnTo>
                    <a:lnTo>
                      <a:pt x="1600" y="55"/>
                    </a:lnTo>
                    <a:lnTo>
                      <a:pt x="1600" y="54"/>
                    </a:lnTo>
                    <a:lnTo>
                      <a:pt x="1587" y="42"/>
                    </a:lnTo>
                    <a:lnTo>
                      <a:pt x="1582" y="37"/>
                    </a:lnTo>
                    <a:lnTo>
                      <a:pt x="1579" y="44"/>
                    </a:lnTo>
                    <a:lnTo>
                      <a:pt x="1577" y="42"/>
                    </a:lnTo>
                    <a:lnTo>
                      <a:pt x="1575" y="46"/>
                    </a:lnTo>
                    <a:lnTo>
                      <a:pt x="1574" y="46"/>
                    </a:lnTo>
                    <a:lnTo>
                      <a:pt x="1571" y="46"/>
                    </a:lnTo>
                    <a:lnTo>
                      <a:pt x="1569" y="42"/>
                    </a:lnTo>
                    <a:lnTo>
                      <a:pt x="1567" y="42"/>
                    </a:lnTo>
                    <a:lnTo>
                      <a:pt x="1557" y="42"/>
                    </a:lnTo>
                    <a:lnTo>
                      <a:pt x="1552" y="49"/>
                    </a:lnTo>
                    <a:lnTo>
                      <a:pt x="1552" y="47"/>
                    </a:lnTo>
                    <a:lnTo>
                      <a:pt x="1543" y="54"/>
                    </a:lnTo>
                    <a:lnTo>
                      <a:pt x="1541" y="57"/>
                    </a:lnTo>
                    <a:lnTo>
                      <a:pt x="1538" y="59"/>
                    </a:lnTo>
                    <a:lnTo>
                      <a:pt x="1538" y="60"/>
                    </a:lnTo>
                    <a:lnTo>
                      <a:pt x="1536" y="62"/>
                    </a:lnTo>
                    <a:lnTo>
                      <a:pt x="1534" y="62"/>
                    </a:lnTo>
                    <a:lnTo>
                      <a:pt x="1533" y="59"/>
                    </a:lnTo>
                    <a:lnTo>
                      <a:pt x="1531" y="57"/>
                    </a:lnTo>
                    <a:lnTo>
                      <a:pt x="1529" y="55"/>
                    </a:lnTo>
                    <a:lnTo>
                      <a:pt x="1521" y="57"/>
                    </a:lnTo>
                    <a:lnTo>
                      <a:pt x="1518" y="55"/>
                    </a:lnTo>
                    <a:lnTo>
                      <a:pt x="1513" y="55"/>
                    </a:lnTo>
                    <a:lnTo>
                      <a:pt x="1510" y="55"/>
                    </a:lnTo>
                    <a:lnTo>
                      <a:pt x="1510" y="57"/>
                    </a:lnTo>
                    <a:lnTo>
                      <a:pt x="1505" y="60"/>
                    </a:lnTo>
                    <a:lnTo>
                      <a:pt x="1503" y="64"/>
                    </a:lnTo>
                    <a:lnTo>
                      <a:pt x="1502" y="64"/>
                    </a:lnTo>
                    <a:lnTo>
                      <a:pt x="1503" y="62"/>
                    </a:lnTo>
                    <a:lnTo>
                      <a:pt x="1502" y="60"/>
                    </a:lnTo>
                    <a:lnTo>
                      <a:pt x="1498" y="60"/>
                    </a:lnTo>
                    <a:lnTo>
                      <a:pt x="1503" y="47"/>
                    </a:lnTo>
                    <a:lnTo>
                      <a:pt x="1508" y="46"/>
                    </a:lnTo>
                    <a:lnTo>
                      <a:pt x="1511" y="44"/>
                    </a:lnTo>
                    <a:lnTo>
                      <a:pt x="1510" y="39"/>
                    </a:lnTo>
                    <a:lnTo>
                      <a:pt x="1497" y="34"/>
                    </a:lnTo>
                    <a:lnTo>
                      <a:pt x="1492" y="36"/>
                    </a:lnTo>
                    <a:lnTo>
                      <a:pt x="1488" y="39"/>
                    </a:lnTo>
                    <a:lnTo>
                      <a:pt x="1490" y="51"/>
                    </a:lnTo>
                    <a:lnTo>
                      <a:pt x="1485" y="52"/>
                    </a:lnTo>
                    <a:lnTo>
                      <a:pt x="1487" y="55"/>
                    </a:lnTo>
                    <a:lnTo>
                      <a:pt x="1493" y="60"/>
                    </a:lnTo>
                    <a:lnTo>
                      <a:pt x="1493" y="65"/>
                    </a:lnTo>
                    <a:lnTo>
                      <a:pt x="1490" y="65"/>
                    </a:lnTo>
                    <a:lnTo>
                      <a:pt x="1488" y="64"/>
                    </a:lnTo>
                    <a:lnTo>
                      <a:pt x="1488" y="67"/>
                    </a:lnTo>
                    <a:lnTo>
                      <a:pt x="1487" y="69"/>
                    </a:lnTo>
                    <a:lnTo>
                      <a:pt x="1480" y="65"/>
                    </a:lnTo>
                    <a:lnTo>
                      <a:pt x="1474" y="65"/>
                    </a:lnTo>
                    <a:lnTo>
                      <a:pt x="1462" y="82"/>
                    </a:lnTo>
                    <a:lnTo>
                      <a:pt x="1457" y="82"/>
                    </a:lnTo>
                    <a:lnTo>
                      <a:pt x="1451" y="80"/>
                    </a:lnTo>
                    <a:lnTo>
                      <a:pt x="1446" y="82"/>
                    </a:lnTo>
                    <a:lnTo>
                      <a:pt x="1442" y="80"/>
                    </a:lnTo>
                    <a:lnTo>
                      <a:pt x="1442" y="77"/>
                    </a:lnTo>
                    <a:lnTo>
                      <a:pt x="1439" y="77"/>
                    </a:lnTo>
                    <a:lnTo>
                      <a:pt x="1437" y="77"/>
                    </a:lnTo>
                    <a:lnTo>
                      <a:pt x="1439" y="69"/>
                    </a:lnTo>
                    <a:lnTo>
                      <a:pt x="1437" y="60"/>
                    </a:lnTo>
                    <a:lnTo>
                      <a:pt x="1433" y="59"/>
                    </a:lnTo>
                    <a:lnTo>
                      <a:pt x="1428" y="55"/>
                    </a:lnTo>
                    <a:lnTo>
                      <a:pt x="1428" y="51"/>
                    </a:lnTo>
                    <a:lnTo>
                      <a:pt x="1416" y="57"/>
                    </a:lnTo>
                    <a:lnTo>
                      <a:pt x="1413" y="55"/>
                    </a:lnTo>
                    <a:lnTo>
                      <a:pt x="1411" y="65"/>
                    </a:lnTo>
                    <a:lnTo>
                      <a:pt x="1403" y="67"/>
                    </a:lnTo>
                    <a:lnTo>
                      <a:pt x="1398" y="65"/>
                    </a:lnTo>
                    <a:lnTo>
                      <a:pt x="1400" y="59"/>
                    </a:lnTo>
                    <a:lnTo>
                      <a:pt x="1398" y="55"/>
                    </a:lnTo>
                    <a:lnTo>
                      <a:pt x="1388" y="55"/>
                    </a:lnTo>
                    <a:lnTo>
                      <a:pt x="1390" y="51"/>
                    </a:lnTo>
                    <a:lnTo>
                      <a:pt x="1388" y="51"/>
                    </a:lnTo>
                    <a:lnTo>
                      <a:pt x="1383" y="51"/>
                    </a:lnTo>
                    <a:lnTo>
                      <a:pt x="1383" y="54"/>
                    </a:lnTo>
                    <a:lnTo>
                      <a:pt x="1380" y="57"/>
                    </a:lnTo>
                    <a:lnTo>
                      <a:pt x="1378" y="57"/>
                    </a:lnTo>
                    <a:lnTo>
                      <a:pt x="1382" y="64"/>
                    </a:lnTo>
                    <a:lnTo>
                      <a:pt x="1383" y="64"/>
                    </a:lnTo>
                    <a:lnTo>
                      <a:pt x="1387" y="67"/>
                    </a:lnTo>
                    <a:lnTo>
                      <a:pt x="1380" y="70"/>
                    </a:lnTo>
                    <a:lnTo>
                      <a:pt x="1378" y="74"/>
                    </a:lnTo>
                    <a:lnTo>
                      <a:pt x="1378" y="83"/>
                    </a:lnTo>
                    <a:lnTo>
                      <a:pt x="1377" y="83"/>
                    </a:lnTo>
                    <a:lnTo>
                      <a:pt x="1375" y="87"/>
                    </a:lnTo>
                    <a:lnTo>
                      <a:pt x="1380" y="88"/>
                    </a:lnTo>
                    <a:lnTo>
                      <a:pt x="1382" y="88"/>
                    </a:lnTo>
                    <a:lnTo>
                      <a:pt x="1385" y="88"/>
                    </a:lnTo>
                    <a:lnTo>
                      <a:pt x="1388" y="92"/>
                    </a:lnTo>
                    <a:lnTo>
                      <a:pt x="1388" y="98"/>
                    </a:lnTo>
                    <a:lnTo>
                      <a:pt x="1387" y="100"/>
                    </a:lnTo>
                    <a:lnTo>
                      <a:pt x="1388" y="105"/>
                    </a:lnTo>
                    <a:lnTo>
                      <a:pt x="1395" y="111"/>
                    </a:lnTo>
                    <a:lnTo>
                      <a:pt x="1396" y="120"/>
                    </a:lnTo>
                    <a:lnTo>
                      <a:pt x="1395" y="120"/>
                    </a:lnTo>
                    <a:lnTo>
                      <a:pt x="1398" y="121"/>
                    </a:lnTo>
                    <a:lnTo>
                      <a:pt x="1395" y="125"/>
                    </a:lnTo>
                    <a:lnTo>
                      <a:pt x="1388" y="125"/>
                    </a:lnTo>
                    <a:lnTo>
                      <a:pt x="1385" y="128"/>
                    </a:lnTo>
                    <a:lnTo>
                      <a:pt x="1385" y="129"/>
                    </a:lnTo>
                    <a:lnTo>
                      <a:pt x="1383" y="128"/>
                    </a:lnTo>
                    <a:lnTo>
                      <a:pt x="1380" y="129"/>
                    </a:lnTo>
                    <a:lnTo>
                      <a:pt x="1380" y="131"/>
                    </a:lnTo>
                    <a:lnTo>
                      <a:pt x="1378" y="131"/>
                    </a:lnTo>
                    <a:lnTo>
                      <a:pt x="1378" y="129"/>
                    </a:lnTo>
                    <a:lnTo>
                      <a:pt x="1377" y="131"/>
                    </a:lnTo>
                    <a:lnTo>
                      <a:pt x="1375" y="128"/>
                    </a:lnTo>
                    <a:lnTo>
                      <a:pt x="1373" y="129"/>
                    </a:lnTo>
                    <a:lnTo>
                      <a:pt x="1368" y="138"/>
                    </a:lnTo>
                    <a:lnTo>
                      <a:pt x="1367" y="141"/>
                    </a:lnTo>
                    <a:lnTo>
                      <a:pt x="1364" y="143"/>
                    </a:lnTo>
                    <a:lnTo>
                      <a:pt x="1354" y="141"/>
                    </a:lnTo>
                    <a:lnTo>
                      <a:pt x="1347" y="143"/>
                    </a:lnTo>
                    <a:lnTo>
                      <a:pt x="1345" y="143"/>
                    </a:lnTo>
                    <a:lnTo>
                      <a:pt x="1349" y="148"/>
                    </a:lnTo>
                    <a:lnTo>
                      <a:pt x="1345" y="149"/>
                    </a:lnTo>
                    <a:lnTo>
                      <a:pt x="1341" y="146"/>
                    </a:lnTo>
                    <a:lnTo>
                      <a:pt x="1339" y="148"/>
                    </a:lnTo>
                    <a:lnTo>
                      <a:pt x="1339" y="149"/>
                    </a:lnTo>
                    <a:lnTo>
                      <a:pt x="1331" y="156"/>
                    </a:lnTo>
                    <a:lnTo>
                      <a:pt x="1327" y="152"/>
                    </a:lnTo>
                    <a:lnTo>
                      <a:pt x="1326" y="159"/>
                    </a:lnTo>
                    <a:lnTo>
                      <a:pt x="1324" y="161"/>
                    </a:lnTo>
                    <a:lnTo>
                      <a:pt x="1322" y="162"/>
                    </a:lnTo>
                    <a:lnTo>
                      <a:pt x="1322" y="164"/>
                    </a:lnTo>
                    <a:lnTo>
                      <a:pt x="1319" y="164"/>
                    </a:lnTo>
                    <a:lnTo>
                      <a:pt x="1319" y="171"/>
                    </a:lnTo>
                    <a:lnTo>
                      <a:pt x="1316" y="172"/>
                    </a:lnTo>
                    <a:lnTo>
                      <a:pt x="1313" y="175"/>
                    </a:lnTo>
                    <a:lnTo>
                      <a:pt x="1316" y="180"/>
                    </a:lnTo>
                    <a:lnTo>
                      <a:pt x="1314" y="184"/>
                    </a:lnTo>
                    <a:lnTo>
                      <a:pt x="1314" y="190"/>
                    </a:lnTo>
                    <a:lnTo>
                      <a:pt x="1313" y="195"/>
                    </a:lnTo>
                    <a:lnTo>
                      <a:pt x="1316" y="200"/>
                    </a:lnTo>
                    <a:lnTo>
                      <a:pt x="1319" y="203"/>
                    </a:lnTo>
                    <a:lnTo>
                      <a:pt x="1316" y="210"/>
                    </a:lnTo>
                    <a:lnTo>
                      <a:pt x="1316" y="213"/>
                    </a:lnTo>
                    <a:lnTo>
                      <a:pt x="1309" y="217"/>
                    </a:lnTo>
                    <a:lnTo>
                      <a:pt x="1311" y="220"/>
                    </a:lnTo>
                    <a:lnTo>
                      <a:pt x="1313" y="223"/>
                    </a:lnTo>
                    <a:lnTo>
                      <a:pt x="1313" y="226"/>
                    </a:lnTo>
                    <a:lnTo>
                      <a:pt x="1318" y="230"/>
                    </a:lnTo>
                    <a:lnTo>
                      <a:pt x="1316" y="233"/>
                    </a:lnTo>
                    <a:lnTo>
                      <a:pt x="1314" y="235"/>
                    </a:lnTo>
                    <a:lnTo>
                      <a:pt x="1313" y="233"/>
                    </a:lnTo>
                    <a:lnTo>
                      <a:pt x="1311" y="233"/>
                    </a:lnTo>
                    <a:lnTo>
                      <a:pt x="1314" y="235"/>
                    </a:lnTo>
                    <a:lnTo>
                      <a:pt x="1316" y="236"/>
                    </a:lnTo>
                    <a:lnTo>
                      <a:pt x="1318" y="238"/>
                    </a:lnTo>
                    <a:lnTo>
                      <a:pt x="1318" y="240"/>
                    </a:lnTo>
                    <a:lnTo>
                      <a:pt x="1316" y="245"/>
                    </a:lnTo>
                    <a:lnTo>
                      <a:pt x="1321" y="248"/>
                    </a:lnTo>
                    <a:lnTo>
                      <a:pt x="1321" y="249"/>
                    </a:lnTo>
                    <a:lnTo>
                      <a:pt x="1318" y="251"/>
                    </a:lnTo>
                    <a:lnTo>
                      <a:pt x="1313" y="251"/>
                    </a:lnTo>
                    <a:lnTo>
                      <a:pt x="1311" y="254"/>
                    </a:lnTo>
                    <a:lnTo>
                      <a:pt x="1314" y="256"/>
                    </a:lnTo>
                    <a:lnTo>
                      <a:pt x="1318" y="253"/>
                    </a:lnTo>
                    <a:lnTo>
                      <a:pt x="1318" y="254"/>
                    </a:lnTo>
                    <a:lnTo>
                      <a:pt x="1318" y="256"/>
                    </a:lnTo>
                    <a:lnTo>
                      <a:pt x="1318" y="258"/>
                    </a:lnTo>
                    <a:lnTo>
                      <a:pt x="1313" y="263"/>
                    </a:lnTo>
                    <a:lnTo>
                      <a:pt x="1313" y="266"/>
                    </a:lnTo>
                    <a:lnTo>
                      <a:pt x="1316" y="266"/>
                    </a:lnTo>
                    <a:lnTo>
                      <a:pt x="1318" y="269"/>
                    </a:lnTo>
                    <a:lnTo>
                      <a:pt x="1318" y="271"/>
                    </a:lnTo>
                    <a:lnTo>
                      <a:pt x="1321" y="277"/>
                    </a:lnTo>
                    <a:lnTo>
                      <a:pt x="1321" y="281"/>
                    </a:lnTo>
                    <a:lnTo>
                      <a:pt x="1321" y="286"/>
                    </a:lnTo>
                    <a:lnTo>
                      <a:pt x="1322" y="286"/>
                    </a:lnTo>
                    <a:lnTo>
                      <a:pt x="1324" y="282"/>
                    </a:lnTo>
                    <a:lnTo>
                      <a:pt x="1324" y="272"/>
                    </a:lnTo>
                    <a:lnTo>
                      <a:pt x="1329" y="264"/>
                    </a:lnTo>
                    <a:lnTo>
                      <a:pt x="1332" y="259"/>
                    </a:lnTo>
                    <a:lnTo>
                      <a:pt x="1332" y="256"/>
                    </a:lnTo>
                    <a:lnTo>
                      <a:pt x="1337" y="249"/>
                    </a:lnTo>
                    <a:lnTo>
                      <a:pt x="1350" y="243"/>
                    </a:lnTo>
                    <a:lnTo>
                      <a:pt x="1350" y="241"/>
                    </a:lnTo>
                    <a:lnTo>
                      <a:pt x="1352" y="238"/>
                    </a:lnTo>
                    <a:lnTo>
                      <a:pt x="1350" y="240"/>
                    </a:lnTo>
                    <a:lnTo>
                      <a:pt x="1350" y="241"/>
                    </a:lnTo>
                    <a:lnTo>
                      <a:pt x="1355" y="238"/>
                    </a:lnTo>
                    <a:lnTo>
                      <a:pt x="1357" y="238"/>
                    </a:lnTo>
                    <a:lnTo>
                      <a:pt x="1362" y="235"/>
                    </a:lnTo>
                    <a:lnTo>
                      <a:pt x="1364" y="233"/>
                    </a:lnTo>
                    <a:lnTo>
                      <a:pt x="1362" y="235"/>
                    </a:lnTo>
                    <a:lnTo>
                      <a:pt x="1364" y="233"/>
                    </a:lnTo>
                    <a:lnTo>
                      <a:pt x="1373" y="228"/>
                    </a:lnTo>
                    <a:lnTo>
                      <a:pt x="1377" y="218"/>
                    </a:lnTo>
                    <a:lnTo>
                      <a:pt x="1383" y="215"/>
                    </a:lnTo>
                    <a:lnTo>
                      <a:pt x="1383" y="212"/>
                    </a:lnTo>
                    <a:lnTo>
                      <a:pt x="1398" y="200"/>
                    </a:lnTo>
                    <a:lnTo>
                      <a:pt x="1396" y="200"/>
                    </a:lnTo>
                    <a:lnTo>
                      <a:pt x="1396" y="198"/>
                    </a:lnTo>
                    <a:lnTo>
                      <a:pt x="1398" y="200"/>
                    </a:lnTo>
                    <a:lnTo>
                      <a:pt x="1400" y="200"/>
                    </a:lnTo>
                    <a:lnTo>
                      <a:pt x="1410" y="194"/>
                    </a:lnTo>
                    <a:lnTo>
                      <a:pt x="1410" y="190"/>
                    </a:lnTo>
                    <a:lnTo>
                      <a:pt x="1408" y="189"/>
                    </a:lnTo>
                    <a:lnTo>
                      <a:pt x="1396" y="189"/>
                    </a:lnTo>
                    <a:lnTo>
                      <a:pt x="1395" y="185"/>
                    </a:lnTo>
                    <a:lnTo>
                      <a:pt x="1393" y="179"/>
                    </a:lnTo>
                    <a:lnTo>
                      <a:pt x="1396" y="171"/>
                    </a:lnTo>
                    <a:lnTo>
                      <a:pt x="1403" y="166"/>
                    </a:lnTo>
                    <a:lnTo>
                      <a:pt x="1406" y="167"/>
                    </a:lnTo>
                    <a:lnTo>
                      <a:pt x="1411" y="175"/>
                    </a:lnTo>
                    <a:lnTo>
                      <a:pt x="1423" y="180"/>
                    </a:lnTo>
                    <a:lnTo>
                      <a:pt x="1428" y="179"/>
                    </a:lnTo>
                    <a:lnTo>
                      <a:pt x="1429" y="175"/>
                    </a:lnTo>
                    <a:lnTo>
                      <a:pt x="1424" y="174"/>
                    </a:lnTo>
                    <a:lnTo>
                      <a:pt x="1424" y="164"/>
                    </a:lnTo>
                    <a:lnTo>
                      <a:pt x="1424" y="162"/>
                    </a:lnTo>
                    <a:lnTo>
                      <a:pt x="1429" y="161"/>
                    </a:lnTo>
                    <a:lnTo>
                      <a:pt x="1426" y="157"/>
                    </a:lnTo>
                    <a:lnTo>
                      <a:pt x="1428" y="151"/>
                    </a:lnTo>
                    <a:lnTo>
                      <a:pt x="1434" y="149"/>
                    </a:lnTo>
                    <a:lnTo>
                      <a:pt x="1444" y="151"/>
                    </a:lnTo>
                    <a:lnTo>
                      <a:pt x="1446" y="152"/>
                    </a:lnTo>
                    <a:lnTo>
                      <a:pt x="1446" y="157"/>
                    </a:lnTo>
                    <a:lnTo>
                      <a:pt x="1444" y="151"/>
                    </a:lnTo>
                    <a:lnTo>
                      <a:pt x="1434" y="149"/>
                    </a:lnTo>
                    <a:lnTo>
                      <a:pt x="1428" y="152"/>
                    </a:lnTo>
                    <a:lnTo>
                      <a:pt x="1426" y="157"/>
                    </a:lnTo>
                    <a:lnTo>
                      <a:pt x="1429" y="161"/>
                    </a:lnTo>
                    <a:lnTo>
                      <a:pt x="1426" y="162"/>
                    </a:lnTo>
                    <a:lnTo>
                      <a:pt x="1424" y="166"/>
                    </a:lnTo>
                    <a:lnTo>
                      <a:pt x="1426" y="171"/>
                    </a:lnTo>
                    <a:lnTo>
                      <a:pt x="1429" y="174"/>
                    </a:lnTo>
                    <a:lnTo>
                      <a:pt x="1431" y="177"/>
                    </a:lnTo>
                    <a:lnTo>
                      <a:pt x="1428" y="180"/>
                    </a:lnTo>
                    <a:lnTo>
                      <a:pt x="1419" y="182"/>
                    </a:lnTo>
                    <a:lnTo>
                      <a:pt x="1406" y="174"/>
                    </a:lnTo>
                    <a:lnTo>
                      <a:pt x="1403" y="169"/>
                    </a:lnTo>
                    <a:lnTo>
                      <a:pt x="1398" y="172"/>
                    </a:lnTo>
                    <a:lnTo>
                      <a:pt x="1395" y="180"/>
                    </a:lnTo>
                    <a:lnTo>
                      <a:pt x="1395" y="182"/>
                    </a:lnTo>
                    <a:lnTo>
                      <a:pt x="1398" y="185"/>
                    </a:lnTo>
                    <a:lnTo>
                      <a:pt x="1406" y="185"/>
                    </a:lnTo>
                    <a:lnTo>
                      <a:pt x="1416" y="190"/>
                    </a:lnTo>
                    <a:lnTo>
                      <a:pt x="1418" y="195"/>
                    </a:lnTo>
                    <a:lnTo>
                      <a:pt x="1418" y="200"/>
                    </a:lnTo>
                    <a:lnTo>
                      <a:pt x="1401" y="212"/>
                    </a:lnTo>
                    <a:lnTo>
                      <a:pt x="1400" y="213"/>
                    </a:lnTo>
                    <a:lnTo>
                      <a:pt x="1393" y="212"/>
                    </a:lnTo>
                    <a:lnTo>
                      <a:pt x="1385" y="220"/>
                    </a:lnTo>
                    <a:lnTo>
                      <a:pt x="1382" y="220"/>
                    </a:lnTo>
                    <a:lnTo>
                      <a:pt x="1382" y="230"/>
                    </a:lnTo>
                    <a:lnTo>
                      <a:pt x="1380" y="235"/>
                    </a:lnTo>
                    <a:lnTo>
                      <a:pt x="1382" y="235"/>
                    </a:lnTo>
                    <a:lnTo>
                      <a:pt x="1382" y="236"/>
                    </a:lnTo>
                    <a:lnTo>
                      <a:pt x="1382" y="235"/>
                    </a:lnTo>
                    <a:lnTo>
                      <a:pt x="1380" y="235"/>
                    </a:lnTo>
                    <a:lnTo>
                      <a:pt x="1373" y="241"/>
                    </a:lnTo>
                    <a:lnTo>
                      <a:pt x="1364" y="246"/>
                    </a:lnTo>
                    <a:lnTo>
                      <a:pt x="1355" y="253"/>
                    </a:lnTo>
                    <a:lnTo>
                      <a:pt x="1350" y="263"/>
                    </a:lnTo>
                    <a:lnTo>
                      <a:pt x="1347" y="271"/>
                    </a:lnTo>
                    <a:lnTo>
                      <a:pt x="1352" y="274"/>
                    </a:lnTo>
                    <a:lnTo>
                      <a:pt x="1347" y="272"/>
                    </a:lnTo>
                    <a:lnTo>
                      <a:pt x="1345" y="276"/>
                    </a:lnTo>
                    <a:lnTo>
                      <a:pt x="1342" y="281"/>
                    </a:lnTo>
                    <a:lnTo>
                      <a:pt x="1341" y="281"/>
                    </a:lnTo>
                    <a:lnTo>
                      <a:pt x="1337" y="284"/>
                    </a:lnTo>
                    <a:lnTo>
                      <a:pt x="1331" y="287"/>
                    </a:lnTo>
                    <a:lnTo>
                      <a:pt x="1327" y="296"/>
                    </a:lnTo>
                    <a:lnTo>
                      <a:pt x="1321" y="305"/>
                    </a:lnTo>
                    <a:lnTo>
                      <a:pt x="1319" y="305"/>
                    </a:lnTo>
                    <a:lnTo>
                      <a:pt x="1318" y="310"/>
                    </a:lnTo>
                    <a:lnTo>
                      <a:pt x="1314" y="322"/>
                    </a:lnTo>
                    <a:lnTo>
                      <a:pt x="1313" y="327"/>
                    </a:lnTo>
                    <a:lnTo>
                      <a:pt x="1306" y="337"/>
                    </a:lnTo>
                    <a:lnTo>
                      <a:pt x="1301" y="343"/>
                    </a:lnTo>
                    <a:lnTo>
                      <a:pt x="1299" y="343"/>
                    </a:lnTo>
                    <a:lnTo>
                      <a:pt x="1303" y="348"/>
                    </a:lnTo>
                    <a:lnTo>
                      <a:pt x="1309" y="353"/>
                    </a:lnTo>
                    <a:lnTo>
                      <a:pt x="1314" y="358"/>
                    </a:lnTo>
                    <a:lnTo>
                      <a:pt x="1311" y="358"/>
                    </a:lnTo>
                    <a:lnTo>
                      <a:pt x="1309" y="356"/>
                    </a:lnTo>
                    <a:lnTo>
                      <a:pt x="1309" y="355"/>
                    </a:lnTo>
                    <a:lnTo>
                      <a:pt x="1308" y="355"/>
                    </a:lnTo>
                    <a:lnTo>
                      <a:pt x="1308" y="353"/>
                    </a:lnTo>
                    <a:lnTo>
                      <a:pt x="1301" y="348"/>
                    </a:lnTo>
                    <a:lnTo>
                      <a:pt x="1295" y="346"/>
                    </a:lnTo>
                    <a:lnTo>
                      <a:pt x="1296" y="348"/>
                    </a:lnTo>
                    <a:lnTo>
                      <a:pt x="1293" y="351"/>
                    </a:lnTo>
                    <a:lnTo>
                      <a:pt x="1295" y="351"/>
                    </a:lnTo>
                    <a:lnTo>
                      <a:pt x="1288" y="351"/>
                    </a:lnTo>
                    <a:lnTo>
                      <a:pt x="1286" y="351"/>
                    </a:lnTo>
                    <a:lnTo>
                      <a:pt x="1286" y="350"/>
                    </a:lnTo>
                    <a:lnTo>
                      <a:pt x="1280" y="350"/>
                    </a:lnTo>
                    <a:lnTo>
                      <a:pt x="1278" y="353"/>
                    </a:lnTo>
                    <a:lnTo>
                      <a:pt x="1272" y="355"/>
                    </a:lnTo>
                    <a:lnTo>
                      <a:pt x="1268" y="358"/>
                    </a:lnTo>
                    <a:lnTo>
                      <a:pt x="1265" y="363"/>
                    </a:lnTo>
                    <a:lnTo>
                      <a:pt x="1255" y="371"/>
                    </a:lnTo>
                    <a:lnTo>
                      <a:pt x="1252" y="376"/>
                    </a:lnTo>
                    <a:lnTo>
                      <a:pt x="1249" y="381"/>
                    </a:lnTo>
                    <a:lnTo>
                      <a:pt x="1247" y="383"/>
                    </a:lnTo>
                    <a:lnTo>
                      <a:pt x="1244" y="386"/>
                    </a:lnTo>
                    <a:lnTo>
                      <a:pt x="1244" y="388"/>
                    </a:lnTo>
                    <a:lnTo>
                      <a:pt x="1242" y="389"/>
                    </a:lnTo>
                    <a:lnTo>
                      <a:pt x="1240" y="396"/>
                    </a:lnTo>
                    <a:lnTo>
                      <a:pt x="1230" y="406"/>
                    </a:lnTo>
                    <a:lnTo>
                      <a:pt x="1234" y="407"/>
                    </a:lnTo>
                    <a:lnTo>
                      <a:pt x="1237" y="407"/>
                    </a:lnTo>
                    <a:lnTo>
                      <a:pt x="1235" y="407"/>
                    </a:lnTo>
                    <a:lnTo>
                      <a:pt x="1237" y="409"/>
                    </a:lnTo>
                    <a:lnTo>
                      <a:pt x="1239" y="411"/>
                    </a:lnTo>
                    <a:lnTo>
                      <a:pt x="1237" y="409"/>
                    </a:lnTo>
                    <a:lnTo>
                      <a:pt x="1229" y="406"/>
                    </a:lnTo>
                    <a:lnTo>
                      <a:pt x="1222" y="406"/>
                    </a:lnTo>
                    <a:lnTo>
                      <a:pt x="1226" y="409"/>
                    </a:lnTo>
                    <a:lnTo>
                      <a:pt x="1222" y="407"/>
                    </a:lnTo>
                    <a:lnTo>
                      <a:pt x="1222" y="409"/>
                    </a:lnTo>
                    <a:lnTo>
                      <a:pt x="1222" y="406"/>
                    </a:lnTo>
                    <a:lnTo>
                      <a:pt x="1222" y="404"/>
                    </a:lnTo>
                    <a:lnTo>
                      <a:pt x="1216" y="407"/>
                    </a:lnTo>
                    <a:lnTo>
                      <a:pt x="1207" y="411"/>
                    </a:lnTo>
                    <a:lnTo>
                      <a:pt x="1211" y="411"/>
                    </a:lnTo>
                    <a:lnTo>
                      <a:pt x="1214" y="414"/>
                    </a:lnTo>
                    <a:lnTo>
                      <a:pt x="1214" y="420"/>
                    </a:lnTo>
                    <a:lnTo>
                      <a:pt x="1212" y="424"/>
                    </a:lnTo>
                    <a:lnTo>
                      <a:pt x="1207" y="425"/>
                    </a:lnTo>
                    <a:lnTo>
                      <a:pt x="1204" y="427"/>
                    </a:lnTo>
                    <a:lnTo>
                      <a:pt x="1203" y="427"/>
                    </a:lnTo>
                    <a:lnTo>
                      <a:pt x="1203" y="429"/>
                    </a:lnTo>
                    <a:lnTo>
                      <a:pt x="1204" y="430"/>
                    </a:lnTo>
                    <a:lnTo>
                      <a:pt x="1206" y="432"/>
                    </a:lnTo>
                    <a:lnTo>
                      <a:pt x="1206" y="437"/>
                    </a:lnTo>
                    <a:lnTo>
                      <a:pt x="1204" y="443"/>
                    </a:lnTo>
                    <a:lnTo>
                      <a:pt x="1204" y="445"/>
                    </a:lnTo>
                    <a:lnTo>
                      <a:pt x="1203" y="447"/>
                    </a:lnTo>
                    <a:lnTo>
                      <a:pt x="1203" y="448"/>
                    </a:lnTo>
                    <a:lnTo>
                      <a:pt x="1206" y="452"/>
                    </a:lnTo>
                    <a:lnTo>
                      <a:pt x="1206" y="448"/>
                    </a:lnTo>
                    <a:lnTo>
                      <a:pt x="1206" y="453"/>
                    </a:lnTo>
                    <a:lnTo>
                      <a:pt x="1204" y="455"/>
                    </a:lnTo>
                    <a:lnTo>
                      <a:pt x="1206" y="455"/>
                    </a:lnTo>
                    <a:lnTo>
                      <a:pt x="1203" y="457"/>
                    </a:lnTo>
                    <a:lnTo>
                      <a:pt x="1203" y="460"/>
                    </a:lnTo>
                    <a:lnTo>
                      <a:pt x="1203" y="455"/>
                    </a:lnTo>
                    <a:lnTo>
                      <a:pt x="1206" y="453"/>
                    </a:lnTo>
                    <a:lnTo>
                      <a:pt x="1201" y="448"/>
                    </a:lnTo>
                    <a:lnTo>
                      <a:pt x="1203" y="448"/>
                    </a:lnTo>
                    <a:lnTo>
                      <a:pt x="1199" y="445"/>
                    </a:lnTo>
                    <a:lnTo>
                      <a:pt x="1188" y="443"/>
                    </a:lnTo>
                    <a:lnTo>
                      <a:pt x="1191" y="447"/>
                    </a:lnTo>
                    <a:lnTo>
                      <a:pt x="1196" y="447"/>
                    </a:lnTo>
                    <a:lnTo>
                      <a:pt x="1196" y="448"/>
                    </a:lnTo>
                    <a:lnTo>
                      <a:pt x="1193" y="476"/>
                    </a:lnTo>
                    <a:lnTo>
                      <a:pt x="1194" y="483"/>
                    </a:lnTo>
                    <a:lnTo>
                      <a:pt x="1198" y="488"/>
                    </a:lnTo>
                    <a:lnTo>
                      <a:pt x="1199" y="490"/>
                    </a:lnTo>
                    <a:lnTo>
                      <a:pt x="1201" y="494"/>
                    </a:lnTo>
                    <a:lnTo>
                      <a:pt x="1199" y="499"/>
                    </a:lnTo>
                    <a:lnTo>
                      <a:pt x="1199" y="501"/>
                    </a:lnTo>
                    <a:lnTo>
                      <a:pt x="1201" y="501"/>
                    </a:lnTo>
                    <a:lnTo>
                      <a:pt x="1201" y="503"/>
                    </a:lnTo>
                    <a:lnTo>
                      <a:pt x="1203" y="503"/>
                    </a:lnTo>
                    <a:lnTo>
                      <a:pt x="1206" y="504"/>
                    </a:lnTo>
                    <a:lnTo>
                      <a:pt x="1204" y="504"/>
                    </a:lnTo>
                    <a:lnTo>
                      <a:pt x="1201" y="503"/>
                    </a:lnTo>
                    <a:lnTo>
                      <a:pt x="1199" y="501"/>
                    </a:lnTo>
                    <a:lnTo>
                      <a:pt x="1194" y="511"/>
                    </a:lnTo>
                    <a:lnTo>
                      <a:pt x="1194" y="514"/>
                    </a:lnTo>
                    <a:lnTo>
                      <a:pt x="1194" y="513"/>
                    </a:lnTo>
                    <a:lnTo>
                      <a:pt x="1191" y="521"/>
                    </a:lnTo>
                    <a:lnTo>
                      <a:pt x="1188" y="522"/>
                    </a:lnTo>
                    <a:lnTo>
                      <a:pt x="1183" y="522"/>
                    </a:lnTo>
                    <a:lnTo>
                      <a:pt x="1181" y="526"/>
                    </a:lnTo>
                    <a:lnTo>
                      <a:pt x="1181" y="529"/>
                    </a:lnTo>
                    <a:lnTo>
                      <a:pt x="1186" y="536"/>
                    </a:lnTo>
                    <a:lnTo>
                      <a:pt x="1189" y="536"/>
                    </a:lnTo>
                    <a:lnTo>
                      <a:pt x="1189" y="531"/>
                    </a:lnTo>
                    <a:lnTo>
                      <a:pt x="1193" y="529"/>
                    </a:lnTo>
                    <a:lnTo>
                      <a:pt x="1198" y="531"/>
                    </a:lnTo>
                    <a:lnTo>
                      <a:pt x="1199" y="534"/>
                    </a:lnTo>
                    <a:lnTo>
                      <a:pt x="1199" y="537"/>
                    </a:lnTo>
                    <a:lnTo>
                      <a:pt x="1204" y="537"/>
                    </a:lnTo>
                    <a:lnTo>
                      <a:pt x="1204" y="539"/>
                    </a:lnTo>
                    <a:lnTo>
                      <a:pt x="1204" y="542"/>
                    </a:lnTo>
                    <a:lnTo>
                      <a:pt x="1201" y="544"/>
                    </a:lnTo>
                    <a:lnTo>
                      <a:pt x="1201" y="547"/>
                    </a:lnTo>
                    <a:lnTo>
                      <a:pt x="1203" y="547"/>
                    </a:lnTo>
                    <a:lnTo>
                      <a:pt x="1203" y="549"/>
                    </a:lnTo>
                    <a:lnTo>
                      <a:pt x="1199" y="550"/>
                    </a:lnTo>
                    <a:lnTo>
                      <a:pt x="1199" y="554"/>
                    </a:lnTo>
                    <a:lnTo>
                      <a:pt x="1201" y="555"/>
                    </a:lnTo>
                    <a:lnTo>
                      <a:pt x="1199" y="554"/>
                    </a:lnTo>
                    <a:lnTo>
                      <a:pt x="1199" y="550"/>
                    </a:lnTo>
                    <a:lnTo>
                      <a:pt x="1201" y="549"/>
                    </a:lnTo>
                    <a:lnTo>
                      <a:pt x="1203" y="547"/>
                    </a:lnTo>
                    <a:lnTo>
                      <a:pt x="1201" y="547"/>
                    </a:lnTo>
                    <a:lnTo>
                      <a:pt x="1201" y="542"/>
                    </a:lnTo>
                    <a:lnTo>
                      <a:pt x="1203" y="542"/>
                    </a:lnTo>
                    <a:lnTo>
                      <a:pt x="1204" y="537"/>
                    </a:lnTo>
                    <a:lnTo>
                      <a:pt x="1199" y="537"/>
                    </a:lnTo>
                    <a:lnTo>
                      <a:pt x="1198" y="532"/>
                    </a:lnTo>
                    <a:lnTo>
                      <a:pt x="1193" y="529"/>
                    </a:lnTo>
                    <a:lnTo>
                      <a:pt x="1191" y="531"/>
                    </a:lnTo>
                    <a:lnTo>
                      <a:pt x="1189" y="536"/>
                    </a:lnTo>
                    <a:lnTo>
                      <a:pt x="1189" y="537"/>
                    </a:lnTo>
                    <a:lnTo>
                      <a:pt x="1184" y="536"/>
                    </a:lnTo>
                    <a:lnTo>
                      <a:pt x="1181" y="531"/>
                    </a:lnTo>
                    <a:lnTo>
                      <a:pt x="1180" y="531"/>
                    </a:lnTo>
                    <a:lnTo>
                      <a:pt x="1181" y="524"/>
                    </a:lnTo>
                    <a:lnTo>
                      <a:pt x="1184" y="519"/>
                    </a:lnTo>
                    <a:lnTo>
                      <a:pt x="1189" y="519"/>
                    </a:lnTo>
                    <a:lnTo>
                      <a:pt x="1193" y="509"/>
                    </a:lnTo>
                    <a:lnTo>
                      <a:pt x="1189" y="511"/>
                    </a:lnTo>
                    <a:lnTo>
                      <a:pt x="1191" y="508"/>
                    </a:lnTo>
                    <a:lnTo>
                      <a:pt x="1193" y="509"/>
                    </a:lnTo>
                    <a:lnTo>
                      <a:pt x="1194" y="506"/>
                    </a:lnTo>
                    <a:lnTo>
                      <a:pt x="1189" y="506"/>
                    </a:lnTo>
                    <a:lnTo>
                      <a:pt x="1181" y="513"/>
                    </a:lnTo>
                    <a:lnTo>
                      <a:pt x="1173" y="516"/>
                    </a:lnTo>
                    <a:lnTo>
                      <a:pt x="1165" y="511"/>
                    </a:lnTo>
                    <a:lnTo>
                      <a:pt x="1160" y="513"/>
                    </a:lnTo>
                    <a:lnTo>
                      <a:pt x="1155" y="509"/>
                    </a:lnTo>
                    <a:lnTo>
                      <a:pt x="1147" y="511"/>
                    </a:lnTo>
                    <a:lnTo>
                      <a:pt x="1143" y="514"/>
                    </a:lnTo>
                    <a:lnTo>
                      <a:pt x="1137" y="516"/>
                    </a:lnTo>
                    <a:lnTo>
                      <a:pt x="1134" y="514"/>
                    </a:lnTo>
                    <a:lnTo>
                      <a:pt x="1130" y="516"/>
                    </a:lnTo>
                    <a:lnTo>
                      <a:pt x="1120" y="521"/>
                    </a:lnTo>
                    <a:lnTo>
                      <a:pt x="1111" y="522"/>
                    </a:lnTo>
                    <a:lnTo>
                      <a:pt x="1104" y="527"/>
                    </a:lnTo>
                    <a:lnTo>
                      <a:pt x="1101" y="527"/>
                    </a:lnTo>
                    <a:lnTo>
                      <a:pt x="1097" y="526"/>
                    </a:lnTo>
                    <a:lnTo>
                      <a:pt x="1092" y="527"/>
                    </a:lnTo>
                    <a:lnTo>
                      <a:pt x="1089" y="527"/>
                    </a:lnTo>
                    <a:lnTo>
                      <a:pt x="1088" y="526"/>
                    </a:lnTo>
                    <a:lnTo>
                      <a:pt x="1086" y="526"/>
                    </a:lnTo>
                    <a:lnTo>
                      <a:pt x="1084" y="524"/>
                    </a:lnTo>
                    <a:lnTo>
                      <a:pt x="1078" y="526"/>
                    </a:lnTo>
                    <a:lnTo>
                      <a:pt x="1069" y="524"/>
                    </a:lnTo>
                    <a:lnTo>
                      <a:pt x="1063" y="526"/>
                    </a:lnTo>
                    <a:lnTo>
                      <a:pt x="1056" y="526"/>
                    </a:lnTo>
                    <a:lnTo>
                      <a:pt x="1051" y="521"/>
                    </a:lnTo>
                    <a:lnTo>
                      <a:pt x="1045" y="513"/>
                    </a:lnTo>
                    <a:lnTo>
                      <a:pt x="1043" y="511"/>
                    </a:lnTo>
                    <a:lnTo>
                      <a:pt x="1038" y="513"/>
                    </a:lnTo>
                    <a:lnTo>
                      <a:pt x="1035" y="511"/>
                    </a:lnTo>
                    <a:lnTo>
                      <a:pt x="1035" y="508"/>
                    </a:lnTo>
                    <a:lnTo>
                      <a:pt x="1030" y="504"/>
                    </a:lnTo>
                    <a:lnTo>
                      <a:pt x="1027" y="503"/>
                    </a:lnTo>
                    <a:lnTo>
                      <a:pt x="1023" y="503"/>
                    </a:lnTo>
                    <a:lnTo>
                      <a:pt x="1005" y="498"/>
                    </a:lnTo>
                    <a:lnTo>
                      <a:pt x="997" y="498"/>
                    </a:lnTo>
                    <a:lnTo>
                      <a:pt x="992" y="503"/>
                    </a:lnTo>
                    <a:lnTo>
                      <a:pt x="982" y="506"/>
                    </a:lnTo>
                    <a:lnTo>
                      <a:pt x="979" y="503"/>
                    </a:lnTo>
                    <a:lnTo>
                      <a:pt x="948" y="498"/>
                    </a:lnTo>
                    <a:lnTo>
                      <a:pt x="930" y="494"/>
                    </a:lnTo>
                    <a:lnTo>
                      <a:pt x="925" y="490"/>
                    </a:lnTo>
                    <a:lnTo>
                      <a:pt x="917" y="498"/>
                    </a:lnTo>
                    <a:lnTo>
                      <a:pt x="910" y="498"/>
                    </a:lnTo>
                    <a:lnTo>
                      <a:pt x="908" y="499"/>
                    </a:lnTo>
                    <a:lnTo>
                      <a:pt x="904" y="496"/>
                    </a:lnTo>
                    <a:lnTo>
                      <a:pt x="899" y="499"/>
                    </a:lnTo>
                    <a:lnTo>
                      <a:pt x="895" y="498"/>
                    </a:lnTo>
                    <a:lnTo>
                      <a:pt x="894" y="501"/>
                    </a:lnTo>
                    <a:lnTo>
                      <a:pt x="892" y="499"/>
                    </a:lnTo>
                    <a:lnTo>
                      <a:pt x="887" y="503"/>
                    </a:lnTo>
                    <a:lnTo>
                      <a:pt x="884" y="499"/>
                    </a:lnTo>
                    <a:lnTo>
                      <a:pt x="876" y="498"/>
                    </a:lnTo>
                    <a:lnTo>
                      <a:pt x="864" y="504"/>
                    </a:lnTo>
                    <a:lnTo>
                      <a:pt x="858" y="504"/>
                    </a:lnTo>
                    <a:lnTo>
                      <a:pt x="839" y="506"/>
                    </a:lnTo>
                    <a:lnTo>
                      <a:pt x="838" y="509"/>
                    </a:lnTo>
                    <a:lnTo>
                      <a:pt x="835" y="511"/>
                    </a:lnTo>
                    <a:lnTo>
                      <a:pt x="836" y="513"/>
                    </a:lnTo>
                    <a:lnTo>
                      <a:pt x="831" y="513"/>
                    </a:lnTo>
                    <a:lnTo>
                      <a:pt x="825" y="506"/>
                    </a:lnTo>
                    <a:lnTo>
                      <a:pt x="825" y="508"/>
                    </a:lnTo>
                    <a:lnTo>
                      <a:pt x="823" y="508"/>
                    </a:lnTo>
                    <a:lnTo>
                      <a:pt x="821" y="506"/>
                    </a:lnTo>
                    <a:lnTo>
                      <a:pt x="820" y="508"/>
                    </a:lnTo>
                    <a:lnTo>
                      <a:pt x="818" y="506"/>
                    </a:lnTo>
                    <a:lnTo>
                      <a:pt x="815" y="509"/>
                    </a:lnTo>
                    <a:lnTo>
                      <a:pt x="813" y="508"/>
                    </a:lnTo>
                    <a:lnTo>
                      <a:pt x="813" y="509"/>
                    </a:lnTo>
                    <a:lnTo>
                      <a:pt x="810" y="511"/>
                    </a:lnTo>
                    <a:lnTo>
                      <a:pt x="808" y="511"/>
                    </a:lnTo>
                    <a:lnTo>
                      <a:pt x="810" y="509"/>
                    </a:lnTo>
                    <a:lnTo>
                      <a:pt x="807" y="509"/>
                    </a:lnTo>
                    <a:lnTo>
                      <a:pt x="798" y="513"/>
                    </a:lnTo>
                    <a:lnTo>
                      <a:pt x="798" y="514"/>
                    </a:lnTo>
                    <a:lnTo>
                      <a:pt x="790" y="514"/>
                    </a:lnTo>
                    <a:lnTo>
                      <a:pt x="787" y="517"/>
                    </a:lnTo>
                    <a:lnTo>
                      <a:pt x="785" y="516"/>
                    </a:lnTo>
                    <a:lnTo>
                      <a:pt x="782" y="516"/>
                    </a:lnTo>
                    <a:lnTo>
                      <a:pt x="779" y="516"/>
                    </a:lnTo>
                    <a:lnTo>
                      <a:pt x="775" y="521"/>
                    </a:lnTo>
                    <a:lnTo>
                      <a:pt x="769" y="522"/>
                    </a:lnTo>
                    <a:lnTo>
                      <a:pt x="774" y="526"/>
                    </a:lnTo>
                    <a:lnTo>
                      <a:pt x="775" y="527"/>
                    </a:lnTo>
                    <a:lnTo>
                      <a:pt x="774" y="529"/>
                    </a:lnTo>
                    <a:lnTo>
                      <a:pt x="775" y="532"/>
                    </a:lnTo>
                    <a:lnTo>
                      <a:pt x="774" y="544"/>
                    </a:lnTo>
                    <a:lnTo>
                      <a:pt x="770" y="547"/>
                    </a:lnTo>
                    <a:lnTo>
                      <a:pt x="761" y="545"/>
                    </a:lnTo>
                    <a:lnTo>
                      <a:pt x="757" y="547"/>
                    </a:lnTo>
                    <a:lnTo>
                      <a:pt x="766" y="554"/>
                    </a:lnTo>
                    <a:lnTo>
                      <a:pt x="764" y="559"/>
                    </a:lnTo>
                    <a:lnTo>
                      <a:pt x="766" y="560"/>
                    </a:lnTo>
                    <a:lnTo>
                      <a:pt x="772" y="562"/>
                    </a:lnTo>
                    <a:lnTo>
                      <a:pt x="772" y="578"/>
                    </a:lnTo>
                    <a:lnTo>
                      <a:pt x="774" y="585"/>
                    </a:lnTo>
                    <a:lnTo>
                      <a:pt x="782" y="591"/>
                    </a:lnTo>
                    <a:lnTo>
                      <a:pt x="782" y="588"/>
                    </a:lnTo>
                    <a:lnTo>
                      <a:pt x="785" y="585"/>
                    </a:lnTo>
                    <a:lnTo>
                      <a:pt x="790" y="583"/>
                    </a:lnTo>
                    <a:lnTo>
                      <a:pt x="790" y="578"/>
                    </a:lnTo>
                    <a:lnTo>
                      <a:pt x="790" y="575"/>
                    </a:lnTo>
                    <a:lnTo>
                      <a:pt x="790" y="578"/>
                    </a:lnTo>
                    <a:lnTo>
                      <a:pt x="792" y="582"/>
                    </a:lnTo>
                    <a:lnTo>
                      <a:pt x="802" y="580"/>
                    </a:lnTo>
                    <a:lnTo>
                      <a:pt x="805" y="575"/>
                    </a:lnTo>
                    <a:lnTo>
                      <a:pt x="808" y="575"/>
                    </a:lnTo>
                    <a:lnTo>
                      <a:pt x="812" y="575"/>
                    </a:lnTo>
                    <a:lnTo>
                      <a:pt x="816" y="580"/>
                    </a:lnTo>
                    <a:lnTo>
                      <a:pt x="818" y="580"/>
                    </a:lnTo>
                    <a:lnTo>
                      <a:pt x="823" y="583"/>
                    </a:lnTo>
                    <a:lnTo>
                      <a:pt x="826" y="583"/>
                    </a:lnTo>
                    <a:lnTo>
                      <a:pt x="830" y="585"/>
                    </a:lnTo>
                    <a:lnTo>
                      <a:pt x="830" y="587"/>
                    </a:lnTo>
                    <a:lnTo>
                      <a:pt x="831" y="591"/>
                    </a:lnTo>
                    <a:lnTo>
                      <a:pt x="831" y="595"/>
                    </a:lnTo>
                    <a:lnTo>
                      <a:pt x="830" y="591"/>
                    </a:lnTo>
                    <a:lnTo>
                      <a:pt x="830" y="587"/>
                    </a:lnTo>
                    <a:lnTo>
                      <a:pt x="826" y="583"/>
                    </a:lnTo>
                    <a:lnTo>
                      <a:pt x="825" y="585"/>
                    </a:lnTo>
                    <a:lnTo>
                      <a:pt x="820" y="583"/>
                    </a:lnTo>
                    <a:lnTo>
                      <a:pt x="808" y="578"/>
                    </a:lnTo>
                    <a:lnTo>
                      <a:pt x="808" y="582"/>
                    </a:lnTo>
                    <a:lnTo>
                      <a:pt x="807" y="583"/>
                    </a:lnTo>
                    <a:lnTo>
                      <a:pt x="810" y="587"/>
                    </a:lnTo>
                    <a:lnTo>
                      <a:pt x="808" y="587"/>
                    </a:lnTo>
                    <a:lnTo>
                      <a:pt x="807" y="585"/>
                    </a:lnTo>
                    <a:lnTo>
                      <a:pt x="807" y="583"/>
                    </a:lnTo>
                    <a:lnTo>
                      <a:pt x="800" y="583"/>
                    </a:lnTo>
                    <a:lnTo>
                      <a:pt x="795" y="583"/>
                    </a:lnTo>
                    <a:lnTo>
                      <a:pt x="795" y="585"/>
                    </a:lnTo>
                    <a:lnTo>
                      <a:pt x="797" y="587"/>
                    </a:lnTo>
                    <a:lnTo>
                      <a:pt x="793" y="588"/>
                    </a:lnTo>
                    <a:lnTo>
                      <a:pt x="793" y="587"/>
                    </a:lnTo>
                    <a:lnTo>
                      <a:pt x="792" y="587"/>
                    </a:lnTo>
                    <a:lnTo>
                      <a:pt x="789" y="588"/>
                    </a:lnTo>
                    <a:lnTo>
                      <a:pt x="785" y="591"/>
                    </a:lnTo>
                    <a:lnTo>
                      <a:pt x="787" y="601"/>
                    </a:lnTo>
                    <a:lnTo>
                      <a:pt x="784" y="606"/>
                    </a:lnTo>
                    <a:lnTo>
                      <a:pt x="780" y="610"/>
                    </a:lnTo>
                    <a:lnTo>
                      <a:pt x="780" y="616"/>
                    </a:lnTo>
                    <a:lnTo>
                      <a:pt x="779" y="619"/>
                    </a:lnTo>
                    <a:lnTo>
                      <a:pt x="777" y="623"/>
                    </a:lnTo>
                    <a:lnTo>
                      <a:pt x="782" y="626"/>
                    </a:lnTo>
                    <a:lnTo>
                      <a:pt x="787" y="628"/>
                    </a:lnTo>
                    <a:lnTo>
                      <a:pt x="787" y="629"/>
                    </a:lnTo>
                    <a:lnTo>
                      <a:pt x="785" y="633"/>
                    </a:lnTo>
                    <a:lnTo>
                      <a:pt x="787" y="629"/>
                    </a:lnTo>
                    <a:lnTo>
                      <a:pt x="782" y="628"/>
                    </a:lnTo>
                    <a:lnTo>
                      <a:pt x="777" y="624"/>
                    </a:lnTo>
                    <a:lnTo>
                      <a:pt x="777" y="621"/>
                    </a:lnTo>
                    <a:lnTo>
                      <a:pt x="777" y="619"/>
                    </a:lnTo>
                    <a:lnTo>
                      <a:pt x="779" y="611"/>
                    </a:lnTo>
                    <a:lnTo>
                      <a:pt x="779" y="610"/>
                    </a:lnTo>
                    <a:lnTo>
                      <a:pt x="780" y="605"/>
                    </a:lnTo>
                    <a:lnTo>
                      <a:pt x="782" y="601"/>
                    </a:lnTo>
                    <a:lnTo>
                      <a:pt x="782" y="596"/>
                    </a:lnTo>
                    <a:lnTo>
                      <a:pt x="779" y="596"/>
                    </a:lnTo>
                    <a:lnTo>
                      <a:pt x="775" y="598"/>
                    </a:lnTo>
                    <a:lnTo>
                      <a:pt x="774" y="596"/>
                    </a:lnTo>
                    <a:lnTo>
                      <a:pt x="777" y="593"/>
                    </a:lnTo>
                    <a:lnTo>
                      <a:pt x="772" y="591"/>
                    </a:lnTo>
                    <a:lnTo>
                      <a:pt x="769" y="598"/>
                    </a:lnTo>
                    <a:lnTo>
                      <a:pt x="767" y="603"/>
                    </a:lnTo>
                    <a:lnTo>
                      <a:pt x="766" y="605"/>
                    </a:lnTo>
                    <a:lnTo>
                      <a:pt x="759" y="606"/>
                    </a:lnTo>
                    <a:lnTo>
                      <a:pt x="743" y="629"/>
                    </a:lnTo>
                    <a:lnTo>
                      <a:pt x="728" y="634"/>
                    </a:lnTo>
                    <a:lnTo>
                      <a:pt x="718" y="633"/>
                    </a:lnTo>
                    <a:lnTo>
                      <a:pt x="713" y="631"/>
                    </a:lnTo>
                    <a:lnTo>
                      <a:pt x="708" y="626"/>
                    </a:lnTo>
                    <a:lnTo>
                      <a:pt x="700" y="621"/>
                    </a:lnTo>
                    <a:lnTo>
                      <a:pt x="692" y="619"/>
                    </a:lnTo>
                    <a:lnTo>
                      <a:pt x="685" y="616"/>
                    </a:lnTo>
                    <a:lnTo>
                      <a:pt x="675" y="616"/>
                    </a:lnTo>
                    <a:lnTo>
                      <a:pt x="673" y="618"/>
                    </a:lnTo>
                    <a:lnTo>
                      <a:pt x="669" y="614"/>
                    </a:lnTo>
                    <a:lnTo>
                      <a:pt x="667" y="616"/>
                    </a:lnTo>
                    <a:lnTo>
                      <a:pt x="665" y="616"/>
                    </a:lnTo>
                    <a:lnTo>
                      <a:pt x="665" y="621"/>
                    </a:lnTo>
                    <a:lnTo>
                      <a:pt x="662" y="623"/>
                    </a:lnTo>
                    <a:lnTo>
                      <a:pt x="664" y="624"/>
                    </a:lnTo>
                    <a:lnTo>
                      <a:pt x="662" y="628"/>
                    </a:lnTo>
                    <a:lnTo>
                      <a:pt x="664" y="629"/>
                    </a:lnTo>
                    <a:lnTo>
                      <a:pt x="662" y="631"/>
                    </a:lnTo>
                    <a:lnTo>
                      <a:pt x="664" y="636"/>
                    </a:lnTo>
                    <a:lnTo>
                      <a:pt x="662" y="639"/>
                    </a:lnTo>
                    <a:lnTo>
                      <a:pt x="662" y="646"/>
                    </a:lnTo>
                    <a:lnTo>
                      <a:pt x="662" y="649"/>
                    </a:lnTo>
                    <a:lnTo>
                      <a:pt x="659" y="654"/>
                    </a:lnTo>
                    <a:lnTo>
                      <a:pt x="659" y="659"/>
                    </a:lnTo>
                    <a:lnTo>
                      <a:pt x="655" y="662"/>
                    </a:lnTo>
                    <a:lnTo>
                      <a:pt x="659" y="664"/>
                    </a:lnTo>
                    <a:lnTo>
                      <a:pt x="657" y="667"/>
                    </a:lnTo>
                    <a:lnTo>
                      <a:pt x="655" y="669"/>
                    </a:lnTo>
                    <a:lnTo>
                      <a:pt x="655" y="670"/>
                    </a:lnTo>
                    <a:lnTo>
                      <a:pt x="652" y="675"/>
                    </a:lnTo>
                    <a:lnTo>
                      <a:pt x="652" y="679"/>
                    </a:lnTo>
                    <a:lnTo>
                      <a:pt x="649" y="682"/>
                    </a:lnTo>
                    <a:lnTo>
                      <a:pt x="652" y="684"/>
                    </a:lnTo>
                    <a:lnTo>
                      <a:pt x="650" y="687"/>
                    </a:lnTo>
                    <a:lnTo>
                      <a:pt x="652" y="688"/>
                    </a:lnTo>
                    <a:lnTo>
                      <a:pt x="650" y="692"/>
                    </a:lnTo>
                    <a:lnTo>
                      <a:pt x="654" y="697"/>
                    </a:lnTo>
                    <a:lnTo>
                      <a:pt x="654" y="711"/>
                    </a:lnTo>
                    <a:lnTo>
                      <a:pt x="654" y="718"/>
                    </a:lnTo>
                    <a:lnTo>
                      <a:pt x="655" y="720"/>
                    </a:lnTo>
                    <a:lnTo>
                      <a:pt x="655" y="723"/>
                    </a:lnTo>
                    <a:lnTo>
                      <a:pt x="657" y="723"/>
                    </a:lnTo>
                    <a:lnTo>
                      <a:pt x="654" y="721"/>
                    </a:lnTo>
                    <a:lnTo>
                      <a:pt x="654" y="726"/>
                    </a:lnTo>
                    <a:lnTo>
                      <a:pt x="654" y="735"/>
                    </a:lnTo>
                    <a:lnTo>
                      <a:pt x="652" y="749"/>
                    </a:lnTo>
                    <a:lnTo>
                      <a:pt x="642" y="758"/>
                    </a:lnTo>
                    <a:lnTo>
                      <a:pt x="636" y="761"/>
                    </a:lnTo>
                    <a:lnTo>
                      <a:pt x="632" y="764"/>
                    </a:lnTo>
                    <a:lnTo>
                      <a:pt x="632" y="766"/>
                    </a:lnTo>
                    <a:lnTo>
                      <a:pt x="627" y="767"/>
                    </a:lnTo>
                    <a:lnTo>
                      <a:pt x="627" y="769"/>
                    </a:lnTo>
                    <a:lnTo>
                      <a:pt x="624" y="769"/>
                    </a:lnTo>
                    <a:lnTo>
                      <a:pt x="627" y="772"/>
                    </a:lnTo>
                    <a:lnTo>
                      <a:pt x="624" y="774"/>
                    </a:lnTo>
                    <a:lnTo>
                      <a:pt x="619" y="772"/>
                    </a:lnTo>
                    <a:lnTo>
                      <a:pt x="621" y="779"/>
                    </a:lnTo>
                    <a:lnTo>
                      <a:pt x="619" y="782"/>
                    </a:lnTo>
                    <a:lnTo>
                      <a:pt x="619" y="785"/>
                    </a:lnTo>
                    <a:lnTo>
                      <a:pt x="616" y="789"/>
                    </a:lnTo>
                    <a:lnTo>
                      <a:pt x="614" y="790"/>
                    </a:lnTo>
                    <a:lnTo>
                      <a:pt x="611" y="792"/>
                    </a:lnTo>
                    <a:lnTo>
                      <a:pt x="609" y="795"/>
                    </a:lnTo>
                    <a:lnTo>
                      <a:pt x="611" y="797"/>
                    </a:lnTo>
                    <a:lnTo>
                      <a:pt x="604" y="797"/>
                    </a:lnTo>
                    <a:lnTo>
                      <a:pt x="603" y="799"/>
                    </a:lnTo>
                    <a:lnTo>
                      <a:pt x="606" y="800"/>
                    </a:lnTo>
                    <a:lnTo>
                      <a:pt x="601" y="800"/>
                    </a:lnTo>
                    <a:lnTo>
                      <a:pt x="603" y="802"/>
                    </a:lnTo>
                    <a:lnTo>
                      <a:pt x="598" y="804"/>
                    </a:lnTo>
                    <a:lnTo>
                      <a:pt x="596" y="804"/>
                    </a:lnTo>
                    <a:lnTo>
                      <a:pt x="595" y="807"/>
                    </a:lnTo>
                    <a:lnTo>
                      <a:pt x="593" y="809"/>
                    </a:lnTo>
                    <a:lnTo>
                      <a:pt x="591" y="810"/>
                    </a:lnTo>
                    <a:lnTo>
                      <a:pt x="590" y="807"/>
                    </a:lnTo>
                    <a:lnTo>
                      <a:pt x="588" y="809"/>
                    </a:lnTo>
                    <a:lnTo>
                      <a:pt x="588" y="810"/>
                    </a:lnTo>
                    <a:lnTo>
                      <a:pt x="583" y="810"/>
                    </a:lnTo>
                    <a:lnTo>
                      <a:pt x="583" y="812"/>
                    </a:lnTo>
                    <a:lnTo>
                      <a:pt x="581" y="812"/>
                    </a:lnTo>
                    <a:lnTo>
                      <a:pt x="581" y="813"/>
                    </a:lnTo>
                    <a:lnTo>
                      <a:pt x="583" y="813"/>
                    </a:lnTo>
                    <a:lnTo>
                      <a:pt x="580" y="820"/>
                    </a:lnTo>
                    <a:lnTo>
                      <a:pt x="583" y="822"/>
                    </a:lnTo>
                    <a:lnTo>
                      <a:pt x="580" y="832"/>
                    </a:lnTo>
                    <a:lnTo>
                      <a:pt x="578" y="835"/>
                    </a:lnTo>
                    <a:lnTo>
                      <a:pt x="580" y="838"/>
                    </a:lnTo>
                    <a:lnTo>
                      <a:pt x="572" y="850"/>
                    </a:lnTo>
                    <a:lnTo>
                      <a:pt x="568" y="851"/>
                    </a:lnTo>
                    <a:lnTo>
                      <a:pt x="560" y="853"/>
                    </a:lnTo>
                    <a:lnTo>
                      <a:pt x="560" y="855"/>
                    </a:lnTo>
                    <a:lnTo>
                      <a:pt x="557" y="853"/>
                    </a:lnTo>
                    <a:lnTo>
                      <a:pt x="557" y="855"/>
                    </a:lnTo>
                    <a:lnTo>
                      <a:pt x="555" y="853"/>
                    </a:lnTo>
                    <a:lnTo>
                      <a:pt x="554" y="855"/>
                    </a:lnTo>
                    <a:lnTo>
                      <a:pt x="552" y="851"/>
                    </a:lnTo>
                    <a:lnTo>
                      <a:pt x="547" y="855"/>
                    </a:lnTo>
                    <a:lnTo>
                      <a:pt x="544" y="853"/>
                    </a:lnTo>
                    <a:lnTo>
                      <a:pt x="544" y="855"/>
                    </a:lnTo>
                    <a:lnTo>
                      <a:pt x="545" y="856"/>
                    </a:lnTo>
                    <a:lnTo>
                      <a:pt x="542" y="855"/>
                    </a:lnTo>
                    <a:lnTo>
                      <a:pt x="539" y="859"/>
                    </a:lnTo>
                    <a:lnTo>
                      <a:pt x="535" y="858"/>
                    </a:lnTo>
                    <a:lnTo>
                      <a:pt x="531" y="858"/>
                    </a:lnTo>
                    <a:lnTo>
                      <a:pt x="531" y="856"/>
                    </a:lnTo>
                    <a:lnTo>
                      <a:pt x="527" y="856"/>
                    </a:lnTo>
                    <a:lnTo>
                      <a:pt x="527" y="853"/>
                    </a:lnTo>
                    <a:lnTo>
                      <a:pt x="526" y="853"/>
                    </a:lnTo>
                    <a:lnTo>
                      <a:pt x="526" y="855"/>
                    </a:lnTo>
                    <a:lnTo>
                      <a:pt x="522" y="856"/>
                    </a:lnTo>
                    <a:lnTo>
                      <a:pt x="522" y="858"/>
                    </a:lnTo>
                    <a:lnTo>
                      <a:pt x="527" y="861"/>
                    </a:lnTo>
                    <a:lnTo>
                      <a:pt x="529" y="863"/>
                    </a:lnTo>
                    <a:lnTo>
                      <a:pt x="526" y="864"/>
                    </a:lnTo>
                    <a:lnTo>
                      <a:pt x="522" y="869"/>
                    </a:lnTo>
                    <a:lnTo>
                      <a:pt x="524" y="871"/>
                    </a:lnTo>
                    <a:lnTo>
                      <a:pt x="524" y="879"/>
                    </a:lnTo>
                    <a:lnTo>
                      <a:pt x="529" y="881"/>
                    </a:lnTo>
                    <a:lnTo>
                      <a:pt x="529" y="884"/>
                    </a:lnTo>
                    <a:lnTo>
                      <a:pt x="534" y="889"/>
                    </a:lnTo>
                    <a:lnTo>
                      <a:pt x="537" y="887"/>
                    </a:lnTo>
                    <a:lnTo>
                      <a:pt x="537" y="886"/>
                    </a:lnTo>
                    <a:lnTo>
                      <a:pt x="544" y="887"/>
                    </a:lnTo>
                    <a:lnTo>
                      <a:pt x="545" y="884"/>
                    </a:lnTo>
                    <a:lnTo>
                      <a:pt x="545" y="887"/>
                    </a:lnTo>
                    <a:lnTo>
                      <a:pt x="547" y="884"/>
                    </a:lnTo>
                    <a:lnTo>
                      <a:pt x="550" y="887"/>
                    </a:lnTo>
                    <a:lnTo>
                      <a:pt x="550" y="889"/>
                    </a:lnTo>
                    <a:lnTo>
                      <a:pt x="552" y="887"/>
                    </a:lnTo>
                    <a:lnTo>
                      <a:pt x="550" y="887"/>
                    </a:lnTo>
                    <a:lnTo>
                      <a:pt x="552" y="887"/>
                    </a:lnTo>
                    <a:lnTo>
                      <a:pt x="554" y="892"/>
                    </a:lnTo>
                    <a:lnTo>
                      <a:pt x="555" y="894"/>
                    </a:lnTo>
                    <a:lnTo>
                      <a:pt x="557" y="896"/>
                    </a:lnTo>
                    <a:lnTo>
                      <a:pt x="557" y="897"/>
                    </a:lnTo>
                    <a:lnTo>
                      <a:pt x="555" y="897"/>
                    </a:lnTo>
                    <a:lnTo>
                      <a:pt x="555" y="894"/>
                    </a:lnTo>
                    <a:lnTo>
                      <a:pt x="552" y="892"/>
                    </a:lnTo>
                    <a:lnTo>
                      <a:pt x="549" y="889"/>
                    </a:lnTo>
                    <a:lnTo>
                      <a:pt x="539" y="889"/>
                    </a:lnTo>
                    <a:lnTo>
                      <a:pt x="534" y="891"/>
                    </a:lnTo>
                    <a:lnTo>
                      <a:pt x="535" y="894"/>
                    </a:lnTo>
                    <a:lnTo>
                      <a:pt x="534" y="891"/>
                    </a:lnTo>
                    <a:lnTo>
                      <a:pt x="527" y="887"/>
                    </a:lnTo>
                    <a:lnTo>
                      <a:pt x="524" y="889"/>
                    </a:lnTo>
                    <a:lnTo>
                      <a:pt x="524" y="892"/>
                    </a:lnTo>
                    <a:lnTo>
                      <a:pt x="521" y="892"/>
                    </a:lnTo>
                    <a:lnTo>
                      <a:pt x="521" y="899"/>
                    </a:lnTo>
                    <a:lnTo>
                      <a:pt x="519" y="894"/>
                    </a:lnTo>
                    <a:lnTo>
                      <a:pt x="521" y="891"/>
                    </a:lnTo>
                    <a:lnTo>
                      <a:pt x="522" y="889"/>
                    </a:lnTo>
                    <a:lnTo>
                      <a:pt x="522" y="887"/>
                    </a:lnTo>
                    <a:lnTo>
                      <a:pt x="521" y="887"/>
                    </a:lnTo>
                    <a:lnTo>
                      <a:pt x="522" y="886"/>
                    </a:lnTo>
                    <a:lnTo>
                      <a:pt x="521" y="882"/>
                    </a:lnTo>
                    <a:lnTo>
                      <a:pt x="522" y="879"/>
                    </a:lnTo>
                    <a:lnTo>
                      <a:pt x="521" y="878"/>
                    </a:lnTo>
                    <a:lnTo>
                      <a:pt x="516" y="874"/>
                    </a:lnTo>
                    <a:lnTo>
                      <a:pt x="517" y="868"/>
                    </a:lnTo>
                    <a:lnTo>
                      <a:pt x="516" y="868"/>
                    </a:lnTo>
                    <a:lnTo>
                      <a:pt x="514" y="869"/>
                    </a:lnTo>
                    <a:lnTo>
                      <a:pt x="514" y="871"/>
                    </a:lnTo>
                    <a:lnTo>
                      <a:pt x="508" y="873"/>
                    </a:lnTo>
                    <a:lnTo>
                      <a:pt x="506" y="878"/>
                    </a:lnTo>
                    <a:lnTo>
                      <a:pt x="504" y="879"/>
                    </a:lnTo>
                    <a:lnTo>
                      <a:pt x="506" y="881"/>
                    </a:lnTo>
                    <a:lnTo>
                      <a:pt x="504" y="882"/>
                    </a:lnTo>
                    <a:lnTo>
                      <a:pt x="501" y="881"/>
                    </a:lnTo>
                    <a:lnTo>
                      <a:pt x="501" y="882"/>
                    </a:lnTo>
                    <a:lnTo>
                      <a:pt x="498" y="882"/>
                    </a:lnTo>
                    <a:lnTo>
                      <a:pt x="498" y="879"/>
                    </a:lnTo>
                    <a:lnTo>
                      <a:pt x="493" y="881"/>
                    </a:lnTo>
                    <a:lnTo>
                      <a:pt x="489" y="878"/>
                    </a:lnTo>
                    <a:lnTo>
                      <a:pt x="486" y="878"/>
                    </a:lnTo>
                    <a:lnTo>
                      <a:pt x="485" y="879"/>
                    </a:lnTo>
                    <a:lnTo>
                      <a:pt x="489" y="884"/>
                    </a:lnTo>
                    <a:lnTo>
                      <a:pt x="491" y="887"/>
                    </a:lnTo>
                    <a:lnTo>
                      <a:pt x="489" y="889"/>
                    </a:lnTo>
                    <a:lnTo>
                      <a:pt x="491" y="891"/>
                    </a:lnTo>
                    <a:lnTo>
                      <a:pt x="488" y="892"/>
                    </a:lnTo>
                    <a:lnTo>
                      <a:pt x="489" y="892"/>
                    </a:lnTo>
                    <a:lnTo>
                      <a:pt x="488" y="894"/>
                    </a:lnTo>
                    <a:lnTo>
                      <a:pt x="489" y="894"/>
                    </a:lnTo>
                    <a:lnTo>
                      <a:pt x="488" y="897"/>
                    </a:lnTo>
                    <a:lnTo>
                      <a:pt x="488" y="899"/>
                    </a:lnTo>
                    <a:lnTo>
                      <a:pt x="491" y="901"/>
                    </a:lnTo>
                    <a:lnTo>
                      <a:pt x="488" y="901"/>
                    </a:lnTo>
                    <a:lnTo>
                      <a:pt x="486" y="904"/>
                    </a:lnTo>
                    <a:lnTo>
                      <a:pt x="483" y="904"/>
                    </a:lnTo>
                    <a:lnTo>
                      <a:pt x="485" y="906"/>
                    </a:lnTo>
                    <a:lnTo>
                      <a:pt x="481" y="907"/>
                    </a:lnTo>
                    <a:lnTo>
                      <a:pt x="486" y="909"/>
                    </a:lnTo>
                    <a:lnTo>
                      <a:pt x="486" y="917"/>
                    </a:lnTo>
                    <a:lnTo>
                      <a:pt x="485" y="920"/>
                    </a:lnTo>
                    <a:lnTo>
                      <a:pt x="488" y="924"/>
                    </a:lnTo>
                    <a:lnTo>
                      <a:pt x="483" y="925"/>
                    </a:lnTo>
                    <a:lnTo>
                      <a:pt x="485" y="927"/>
                    </a:lnTo>
                    <a:lnTo>
                      <a:pt x="483" y="929"/>
                    </a:lnTo>
                    <a:lnTo>
                      <a:pt x="485" y="933"/>
                    </a:lnTo>
                    <a:lnTo>
                      <a:pt x="480" y="945"/>
                    </a:lnTo>
                    <a:lnTo>
                      <a:pt x="475" y="945"/>
                    </a:lnTo>
                    <a:lnTo>
                      <a:pt x="480" y="947"/>
                    </a:lnTo>
                    <a:lnTo>
                      <a:pt x="475" y="947"/>
                    </a:lnTo>
                    <a:lnTo>
                      <a:pt x="475" y="948"/>
                    </a:lnTo>
                    <a:lnTo>
                      <a:pt x="471" y="952"/>
                    </a:lnTo>
                    <a:lnTo>
                      <a:pt x="468" y="952"/>
                    </a:lnTo>
                    <a:lnTo>
                      <a:pt x="468" y="950"/>
                    </a:lnTo>
                    <a:lnTo>
                      <a:pt x="465" y="948"/>
                    </a:lnTo>
                    <a:lnTo>
                      <a:pt x="463" y="947"/>
                    </a:lnTo>
                    <a:lnTo>
                      <a:pt x="463" y="952"/>
                    </a:lnTo>
                    <a:lnTo>
                      <a:pt x="462" y="953"/>
                    </a:lnTo>
                    <a:lnTo>
                      <a:pt x="458" y="953"/>
                    </a:lnTo>
                    <a:lnTo>
                      <a:pt x="455" y="953"/>
                    </a:lnTo>
                    <a:lnTo>
                      <a:pt x="455" y="955"/>
                    </a:lnTo>
                    <a:lnTo>
                      <a:pt x="463" y="956"/>
                    </a:lnTo>
                    <a:lnTo>
                      <a:pt x="470" y="958"/>
                    </a:lnTo>
                    <a:lnTo>
                      <a:pt x="468" y="958"/>
                    </a:lnTo>
                    <a:lnTo>
                      <a:pt x="465" y="956"/>
                    </a:lnTo>
                    <a:lnTo>
                      <a:pt x="463" y="958"/>
                    </a:lnTo>
                    <a:lnTo>
                      <a:pt x="463" y="956"/>
                    </a:lnTo>
                    <a:lnTo>
                      <a:pt x="460" y="955"/>
                    </a:lnTo>
                    <a:lnTo>
                      <a:pt x="455" y="958"/>
                    </a:lnTo>
                    <a:lnTo>
                      <a:pt x="452" y="956"/>
                    </a:lnTo>
                    <a:lnTo>
                      <a:pt x="450" y="960"/>
                    </a:lnTo>
                    <a:lnTo>
                      <a:pt x="447" y="958"/>
                    </a:lnTo>
                    <a:lnTo>
                      <a:pt x="447" y="960"/>
                    </a:lnTo>
                    <a:lnTo>
                      <a:pt x="448" y="963"/>
                    </a:lnTo>
                    <a:lnTo>
                      <a:pt x="447" y="966"/>
                    </a:lnTo>
                    <a:lnTo>
                      <a:pt x="448" y="966"/>
                    </a:lnTo>
                    <a:lnTo>
                      <a:pt x="443" y="966"/>
                    </a:lnTo>
                    <a:lnTo>
                      <a:pt x="447" y="971"/>
                    </a:lnTo>
                    <a:lnTo>
                      <a:pt x="443" y="971"/>
                    </a:lnTo>
                    <a:lnTo>
                      <a:pt x="447" y="975"/>
                    </a:lnTo>
                    <a:lnTo>
                      <a:pt x="445" y="984"/>
                    </a:lnTo>
                    <a:lnTo>
                      <a:pt x="445" y="989"/>
                    </a:lnTo>
                    <a:lnTo>
                      <a:pt x="442" y="989"/>
                    </a:lnTo>
                    <a:lnTo>
                      <a:pt x="440" y="991"/>
                    </a:lnTo>
                    <a:lnTo>
                      <a:pt x="439" y="993"/>
                    </a:lnTo>
                    <a:lnTo>
                      <a:pt x="435" y="993"/>
                    </a:lnTo>
                    <a:lnTo>
                      <a:pt x="435" y="996"/>
                    </a:lnTo>
                    <a:lnTo>
                      <a:pt x="432" y="998"/>
                    </a:lnTo>
                    <a:lnTo>
                      <a:pt x="432" y="999"/>
                    </a:lnTo>
                    <a:lnTo>
                      <a:pt x="429" y="1003"/>
                    </a:lnTo>
                    <a:lnTo>
                      <a:pt x="427" y="1004"/>
                    </a:lnTo>
                    <a:lnTo>
                      <a:pt x="424" y="1004"/>
                    </a:lnTo>
                    <a:lnTo>
                      <a:pt x="420" y="1003"/>
                    </a:lnTo>
                    <a:lnTo>
                      <a:pt x="416" y="1006"/>
                    </a:lnTo>
                    <a:lnTo>
                      <a:pt x="417" y="1012"/>
                    </a:lnTo>
                    <a:lnTo>
                      <a:pt x="416" y="1017"/>
                    </a:lnTo>
                    <a:lnTo>
                      <a:pt x="414" y="1022"/>
                    </a:lnTo>
                    <a:lnTo>
                      <a:pt x="411" y="1026"/>
                    </a:lnTo>
                    <a:lnTo>
                      <a:pt x="407" y="1027"/>
                    </a:lnTo>
                    <a:lnTo>
                      <a:pt x="406" y="1029"/>
                    </a:lnTo>
                    <a:lnTo>
                      <a:pt x="401" y="1030"/>
                    </a:lnTo>
                    <a:lnTo>
                      <a:pt x="397" y="1034"/>
                    </a:lnTo>
                    <a:lnTo>
                      <a:pt x="399" y="1035"/>
                    </a:lnTo>
                    <a:lnTo>
                      <a:pt x="396" y="1035"/>
                    </a:lnTo>
                    <a:lnTo>
                      <a:pt x="397" y="1037"/>
                    </a:lnTo>
                    <a:lnTo>
                      <a:pt x="396" y="1035"/>
                    </a:lnTo>
                    <a:lnTo>
                      <a:pt x="394" y="1037"/>
                    </a:lnTo>
                    <a:lnTo>
                      <a:pt x="393" y="1035"/>
                    </a:lnTo>
                    <a:lnTo>
                      <a:pt x="389" y="1040"/>
                    </a:lnTo>
                    <a:lnTo>
                      <a:pt x="388" y="1044"/>
                    </a:lnTo>
                    <a:lnTo>
                      <a:pt x="383" y="1047"/>
                    </a:lnTo>
                    <a:lnTo>
                      <a:pt x="379" y="1050"/>
                    </a:lnTo>
                    <a:lnTo>
                      <a:pt x="373" y="1049"/>
                    </a:lnTo>
                    <a:lnTo>
                      <a:pt x="371" y="1050"/>
                    </a:lnTo>
                    <a:lnTo>
                      <a:pt x="368" y="1050"/>
                    </a:lnTo>
                    <a:lnTo>
                      <a:pt x="366" y="1047"/>
                    </a:lnTo>
                    <a:lnTo>
                      <a:pt x="363" y="1049"/>
                    </a:lnTo>
                    <a:lnTo>
                      <a:pt x="360" y="1049"/>
                    </a:lnTo>
                    <a:lnTo>
                      <a:pt x="361" y="1055"/>
                    </a:lnTo>
                    <a:lnTo>
                      <a:pt x="355" y="1065"/>
                    </a:lnTo>
                    <a:lnTo>
                      <a:pt x="351" y="1068"/>
                    </a:lnTo>
                    <a:lnTo>
                      <a:pt x="347" y="1075"/>
                    </a:lnTo>
                    <a:lnTo>
                      <a:pt x="350" y="1077"/>
                    </a:lnTo>
                    <a:lnTo>
                      <a:pt x="350" y="1078"/>
                    </a:lnTo>
                    <a:lnTo>
                      <a:pt x="347" y="1075"/>
                    </a:lnTo>
                    <a:lnTo>
                      <a:pt x="348" y="1078"/>
                    </a:lnTo>
                    <a:lnTo>
                      <a:pt x="347" y="1080"/>
                    </a:lnTo>
                    <a:lnTo>
                      <a:pt x="347" y="1081"/>
                    </a:lnTo>
                    <a:lnTo>
                      <a:pt x="345" y="1083"/>
                    </a:lnTo>
                    <a:lnTo>
                      <a:pt x="343" y="1083"/>
                    </a:lnTo>
                    <a:lnTo>
                      <a:pt x="347" y="1078"/>
                    </a:lnTo>
                    <a:lnTo>
                      <a:pt x="345" y="1075"/>
                    </a:lnTo>
                    <a:lnTo>
                      <a:pt x="342" y="1073"/>
                    </a:lnTo>
                    <a:lnTo>
                      <a:pt x="333" y="1070"/>
                    </a:lnTo>
                    <a:lnTo>
                      <a:pt x="333" y="1067"/>
                    </a:lnTo>
                    <a:lnTo>
                      <a:pt x="332" y="1065"/>
                    </a:lnTo>
                    <a:lnTo>
                      <a:pt x="330" y="1063"/>
                    </a:lnTo>
                    <a:lnTo>
                      <a:pt x="332" y="1063"/>
                    </a:lnTo>
                    <a:lnTo>
                      <a:pt x="332" y="1060"/>
                    </a:lnTo>
                    <a:lnTo>
                      <a:pt x="328" y="1062"/>
                    </a:lnTo>
                    <a:lnTo>
                      <a:pt x="327" y="1062"/>
                    </a:lnTo>
                    <a:lnTo>
                      <a:pt x="325" y="1062"/>
                    </a:lnTo>
                    <a:lnTo>
                      <a:pt x="324" y="1060"/>
                    </a:lnTo>
                    <a:lnTo>
                      <a:pt x="319" y="1062"/>
                    </a:lnTo>
                    <a:lnTo>
                      <a:pt x="315" y="1062"/>
                    </a:lnTo>
                    <a:lnTo>
                      <a:pt x="314" y="1063"/>
                    </a:lnTo>
                    <a:lnTo>
                      <a:pt x="309" y="1062"/>
                    </a:lnTo>
                    <a:lnTo>
                      <a:pt x="307" y="1063"/>
                    </a:lnTo>
                    <a:lnTo>
                      <a:pt x="304" y="1065"/>
                    </a:lnTo>
                    <a:lnTo>
                      <a:pt x="304" y="1068"/>
                    </a:lnTo>
                    <a:lnTo>
                      <a:pt x="302" y="1068"/>
                    </a:lnTo>
                    <a:lnTo>
                      <a:pt x="301" y="1070"/>
                    </a:lnTo>
                    <a:lnTo>
                      <a:pt x="297" y="1072"/>
                    </a:lnTo>
                    <a:lnTo>
                      <a:pt x="296" y="1070"/>
                    </a:lnTo>
                    <a:lnTo>
                      <a:pt x="296" y="1073"/>
                    </a:lnTo>
                    <a:lnTo>
                      <a:pt x="294" y="1073"/>
                    </a:lnTo>
                    <a:lnTo>
                      <a:pt x="294" y="1075"/>
                    </a:lnTo>
                    <a:lnTo>
                      <a:pt x="292" y="1075"/>
                    </a:lnTo>
                    <a:lnTo>
                      <a:pt x="291" y="1077"/>
                    </a:lnTo>
                    <a:lnTo>
                      <a:pt x="289" y="1077"/>
                    </a:lnTo>
                    <a:lnTo>
                      <a:pt x="287" y="1075"/>
                    </a:lnTo>
                    <a:lnTo>
                      <a:pt x="289" y="1077"/>
                    </a:lnTo>
                    <a:lnTo>
                      <a:pt x="284" y="1078"/>
                    </a:lnTo>
                    <a:lnTo>
                      <a:pt x="286" y="1081"/>
                    </a:lnTo>
                    <a:lnTo>
                      <a:pt x="282" y="1080"/>
                    </a:lnTo>
                    <a:lnTo>
                      <a:pt x="282" y="1083"/>
                    </a:lnTo>
                    <a:lnTo>
                      <a:pt x="281" y="1083"/>
                    </a:lnTo>
                    <a:lnTo>
                      <a:pt x="281" y="1085"/>
                    </a:lnTo>
                    <a:lnTo>
                      <a:pt x="278" y="1088"/>
                    </a:lnTo>
                    <a:lnTo>
                      <a:pt x="271" y="1088"/>
                    </a:lnTo>
                    <a:lnTo>
                      <a:pt x="268" y="1090"/>
                    </a:lnTo>
                    <a:lnTo>
                      <a:pt x="263" y="1088"/>
                    </a:lnTo>
                    <a:lnTo>
                      <a:pt x="263" y="1091"/>
                    </a:lnTo>
                    <a:lnTo>
                      <a:pt x="259" y="1095"/>
                    </a:lnTo>
                    <a:lnTo>
                      <a:pt x="255" y="1098"/>
                    </a:lnTo>
                    <a:lnTo>
                      <a:pt x="255" y="1104"/>
                    </a:lnTo>
                    <a:lnTo>
                      <a:pt x="251" y="1106"/>
                    </a:lnTo>
                    <a:lnTo>
                      <a:pt x="251" y="1109"/>
                    </a:lnTo>
                    <a:lnTo>
                      <a:pt x="250" y="1111"/>
                    </a:lnTo>
                    <a:lnTo>
                      <a:pt x="253" y="1114"/>
                    </a:lnTo>
                    <a:lnTo>
                      <a:pt x="253" y="1126"/>
                    </a:lnTo>
                    <a:lnTo>
                      <a:pt x="256" y="1132"/>
                    </a:lnTo>
                    <a:lnTo>
                      <a:pt x="255" y="1136"/>
                    </a:lnTo>
                    <a:lnTo>
                      <a:pt x="250" y="1137"/>
                    </a:lnTo>
                    <a:lnTo>
                      <a:pt x="250" y="1141"/>
                    </a:lnTo>
                    <a:lnTo>
                      <a:pt x="246" y="1142"/>
                    </a:lnTo>
                    <a:lnTo>
                      <a:pt x="250" y="1149"/>
                    </a:lnTo>
                    <a:lnTo>
                      <a:pt x="256" y="1150"/>
                    </a:lnTo>
                    <a:lnTo>
                      <a:pt x="255" y="1152"/>
                    </a:lnTo>
                    <a:lnTo>
                      <a:pt x="256" y="1154"/>
                    </a:lnTo>
                    <a:lnTo>
                      <a:pt x="256" y="1155"/>
                    </a:lnTo>
                    <a:lnTo>
                      <a:pt x="259" y="1159"/>
                    </a:lnTo>
                    <a:lnTo>
                      <a:pt x="258" y="1159"/>
                    </a:lnTo>
                    <a:lnTo>
                      <a:pt x="263" y="1160"/>
                    </a:lnTo>
                    <a:lnTo>
                      <a:pt x="269" y="1159"/>
                    </a:lnTo>
                    <a:lnTo>
                      <a:pt x="271" y="1157"/>
                    </a:lnTo>
                    <a:lnTo>
                      <a:pt x="273" y="1155"/>
                    </a:lnTo>
                    <a:lnTo>
                      <a:pt x="276" y="1159"/>
                    </a:lnTo>
                    <a:lnTo>
                      <a:pt x="276" y="1155"/>
                    </a:lnTo>
                    <a:lnTo>
                      <a:pt x="278" y="1155"/>
                    </a:lnTo>
                    <a:lnTo>
                      <a:pt x="278" y="1154"/>
                    </a:lnTo>
                    <a:lnTo>
                      <a:pt x="281" y="1152"/>
                    </a:lnTo>
                    <a:lnTo>
                      <a:pt x="286" y="1154"/>
                    </a:lnTo>
                    <a:lnTo>
                      <a:pt x="289" y="1150"/>
                    </a:lnTo>
                    <a:lnTo>
                      <a:pt x="291" y="1152"/>
                    </a:lnTo>
                    <a:lnTo>
                      <a:pt x="294" y="1150"/>
                    </a:lnTo>
                    <a:lnTo>
                      <a:pt x="296" y="1152"/>
                    </a:lnTo>
                    <a:lnTo>
                      <a:pt x="301" y="1149"/>
                    </a:lnTo>
                    <a:lnTo>
                      <a:pt x="301" y="1146"/>
                    </a:lnTo>
                    <a:lnTo>
                      <a:pt x="304" y="1147"/>
                    </a:lnTo>
                    <a:lnTo>
                      <a:pt x="305" y="1146"/>
                    </a:lnTo>
                    <a:lnTo>
                      <a:pt x="309" y="1139"/>
                    </a:lnTo>
                    <a:lnTo>
                      <a:pt x="309" y="1134"/>
                    </a:lnTo>
                    <a:lnTo>
                      <a:pt x="312" y="1132"/>
                    </a:lnTo>
                    <a:lnTo>
                      <a:pt x="309" y="1124"/>
                    </a:lnTo>
                    <a:lnTo>
                      <a:pt x="307" y="1124"/>
                    </a:lnTo>
                    <a:lnTo>
                      <a:pt x="305" y="1124"/>
                    </a:lnTo>
                    <a:lnTo>
                      <a:pt x="305" y="1123"/>
                    </a:lnTo>
                    <a:lnTo>
                      <a:pt x="307" y="1124"/>
                    </a:lnTo>
                    <a:lnTo>
                      <a:pt x="305" y="1121"/>
                    </a:lnTo>
                    <a:lnTo>
                      <a:pt x="310" y="1118"/>
                    </a:lnTo>
                    <a:lnTo>
                      <a:pt x="312" y="1118"/>
                    </a:lnTo>
                    <a:lnTo>
                      <a:pt x="314" y="1116"/>
                    </a:lnTo>
                    <a:lnTo>
                      <a:pt x="312" y="1116"/>
                    </a:lnTo>
                    <a:lnTo>
                      <a:pt x="312" y="1114"/>
                    </a:lnTo>
                    <a:lnTo>
                      <a:pt x="312" y="1116"/>
                    </a:lnTo>
                    <a:lnTo>
                      <a:pt x="312" y="1114"/>
                    </a:lnTo>
                    <a:lnTo>
                      <a:pt x="314" y="1111"/>
                    </a:lnTo>
                    <a:lnTo>
                      <a:pt x="317" y="1111"/>
                    </a:lnTo>
                    <a:lnTo>
                      <a:pt x="324" y="1109"/>
                    </a:lnTo>
                    <a:lnTo>
                      <a:pt x="330" y="1111"/>
                    </a:lnTo>
                    <a:lnTo>
                      <a:pt x="333" y="1113"/>
                    </a:lnTo>
                    <a:lnTo>
                      <a:pt x="337" y="1113"/>
                    </a:lnTo>
                    <a:lnTo>
                      <a:pt x="342" y="1119"/>
                    </a:lnTo>
                    <a:lnTo>
                      <a:pt x="343" y="1119"/>
                    </a:lnTo>
                    <a:lnTo>
                      <a:pt x="348" y="1124"/>
                    </a:lnTo>
                    <a:lnTo>
                      <a:pt x="348" y="1127"/>
                    </a:lnTo>
                    <a:lnTo>
                      <a:pt x="351" y="1124"/>
                    </a:lnTo>
                    <a:lnTo>
                      <a:pt x="353" y="1126"/>
                    </a:lnTo>
                    <a:lnTo>
                      <a:pt x="353" y="1124"/>
                    </a:lnTo>
                    <a:lnTo>
                      <a:pt x="355" y="1123"/>
                    </a:lnTo>
                    <a:lnTo>
                      <a:pt x="360" y="1124"/>
                    </a:lnTo>
                    <a:lnTo>
                      <a:pt x="361" y="1124"/>
                    </a:lnTo>
                    <a:lnTo>
                      <a:pt x="366" y="1126"/>
                    </a:lnTo>
                    <a:lnTo>
                      <a:pt x="368" y="1129"/>
                    </a:lnTo>
                    <a:lnTo>
                      <a:pt x="370" y="1129"/>
                    </a:lnTo>
                    <a:lnTo>
                      <a:pt x="371" y="1131"/>
                    </a:lnTo>
                    <a:lnTo>
                      <a:pt x="374" y="1131"/>
                    </a:lnTo>
                    <a:lnTo>
                      <a:pt x="381" y="1131"/>
                    </a:lnTo>
                    <a:lnTo>
                      <a:pt x="383" y="1132"/>
                    </a:lnTo>
                    <a:lnTo>
                      <a:pt x="386" y="1136"/>
                    </a:lnTo>
                    <a:lnTo>
                      <a:pt x="388" y="1134"/>
                    </a:lnTo>
                    <a:lnTo>
                      <a:pt x="386" y="1136"/>
                    </a:lnTo>
                    <a:lnTo>
                      <a:pt x="389" y="1136"/>
                    </a:lnTo>
                    <a:lnTo>
                      <a:pt x="393" y="1139"/>
                    </a:lnTo>
                    <a:lnTo>
                      <a:pt x="394" y="1142"/>
                    </a:lnTo>
                    <a:lnTo>
                      <a:pt x="402" y="1152"/>
                    </a:lnTo>
                    <a:lnTo>
                      <a:pt x="399" y="1157"/>
                    </a:lnTo>
                    <a:lnTo>
                      <a:pt x="402" y="1157"/>
                    </a:lnTo>
                    <a:lnTo>
                      <a:pt x="406" y="1162"/>
                    </a:lnTo>
                    <a:lnTo>
                      <a:pt x="407" y="1162"/>
                    </a:lnTo>
                    <a:lnTo>
                      <a:pt x="406" y="1164"/>
                    </a:lnTo>
                    <a:lnTo>
                      <a:pt x="409" y="1169"/>
                    </a:lnTo>
                    <a:lnTo>
                      <a:pt x="407" y="1170"/>
                    </a:lnTo>
                    <a:lnTo>
                      <a:pt x="407" y="1174"/>
                    </a:lnTo>
                    <a:lnTo>
                      <a:pt x="404" y="1177"/>
                    </a:lnTo>
                    <a:lnTo>
                      <a:pt x="404" y="1180"/>
                    </a:lnTo>
                    <a:lnTo>
                      <a:pt x="409" y="1182"/>
                    </a:lnTo>
                    <a:lnTo>
                      <a:pt x="411" y="1185"/>
                    </a:lnTo>
                    <a:lnTo>
                      <a:pt x="409" y="1187"/>
                    </a:lnTo>
                    <a:lnTo>
                      <a:pt x="412" y="1188"/>
                    </a:lnTo>
                    <a:lnTo>
                      <a:pt x="411" y="1192"/>
                    </a:lnTo>
                    <a:lnTo>
                      <a:pt x="412" y="1193"/>
                    </a:lnTo>
                    <a:lnTo>
                      <a:pt x="417" y="1193"/>
                    </a:lnTo>
                    <a:lnTo>
                      <a:pt x="422" y="1197"/>
                    </a:lnTo>
                    <a:lnTo>
                      <a:pt x="422" y="1201"/>
                    </a:lnTo>
                    <a:lnTo>
                      <a:pt x="429" y="1203"/>
                    </a:lnTo>
                    <a:lnTo>
                      <a:pt x="429" y="1200"/>
                    </a:lnTo>
                    <a:lnTo>
                      <a:pt x="434" y="1200"/>
                    </a:lnTo>
                    <a:lnTo>
                      <a:pt x="434" y="1198"/>
                    </a:lnTo>
                    <a:lnTo>
                      <a:pt x="432" y="1195"/>
                    </a:lnTo>
                    <a:lnTo>
                      <a:pt x="434" y="1192"/>
                    </a:lnTo>
                    <a:lnTo>
                      <a:pt x="435" y="1190"/>
                    </a:lnTo>
                    <a:lnTo>
                      <a:pt x="435" y="1187"/>
                    </a:lnTo>
                    <a:lnTo>
                      <a:pt x="439" y="1185"/>
                    </a:lnTo>
                    <a:lnTo>
                      <a:pt x="439" y="1182"/>
                    </a:lnTo>
                    <a:lnTo>
                      <a:pt x="440" y="1178"/>
                    </a:lnTo>
                    <a:lnTo>
                      <a:pt x="443" y="1175"/>
                    </a:lnTo>
                    <a:lnTo>
                      <a:pt x="450" y="1175"/>
                    </a:lnTo>
                    <a:lnTo>
                      <a:pt x="452" y="1177"/>
                    </a:lnTo>
                    <a:lnTo>
                      <a:pt x="452" y="1175"/>
                    </a:lnTo>
                    <a:lnTo>
                      <a:pt x="455" y="1175"/>
                    </a:lnTo>
                    <a:lnTo>
                      <a:pt x="458" y="1178"/>
                    </a:lnTo>
                    <a:lnTo>
                      <a:pt x="463" y="1178"/>
                    </a:lnTo>
                    <a:lnTo>
                      <a:pt x="465" y="1172"/>
                    </a:lnTo>
                    <a:lnTo>
                      <a:pt x="466" y="1172"/>
                    </a:lnTo>
                    <a:lnTo>
                      <a:pt x="465" y="1165"/>
                    </a:lnTo>
                    <a:lnTo>
                      <a:pt x="466" y="1164"/>
                    </a:lnTo>
                    <a:lnTo>
                      <a:pt x="475" y="1160"/>
                    </a:lnTo>
                    <a:lnTo>
                      <a:pt x="475" y="1154"/>
                    </a:lnTo>
                    <a:lnTo>
                      <a:pt x="478" y="1150"/>
                    </a:lnTo>
                    <a:lnTo>
                      <a:pt x="476" y="1149"/>
                    </a:lnTo>
                    <a:lnTo>
                      <a:pt x="476" y="1147"/>
                    </a:lnTo>
                    <a:lnTo>
                      <a:pt x="475" y="1142"/>
                    </a:lnTo>
                    <a:lnTo>
                      <a:pt x="470" y="1142"/>
                    </a:lnTo>
                    <a:lnTo>
                      <a:pt x="471" y="1132"/>
                    </a:lnTo>
                    <a:lnTo>
                      <a:pt x="470" y="1134"/>
                    </a:lnTo>
                    <a:lnTo>
                      <a:pt x="468" y="1132"/>
                    </a:lnTo>
                    <a:lnTo>
                      <a:pt x="463" y="1132"/>
                    </a:lnTo>
                    <a:lnTo>
                      <a:pt x="457" y="1136"/>
                    </a:lnTo>
                    <a:lnTo>
                      <a:pt x="463" y="1131"/>
                    </a:lnTo>
                    <a:lnTo>
                      <a:pt x="466" y="1131"/>
                    </a:lnTo>
                    <a:lnTo>
                      <a:pt x="462" y="1129"/>
                    </a:lnTo>
                    <a:lnTo>
                      <a:pt x="457" y="1127"/>
                    </a:lnTo>
                    <a:lnTo>
                      <a:pt x="452" y="1131"/>
                    </a:lnTo>
                    <a:lnTo>
                      <a:pt x="452" y="1127"/>
                    </a:lnTo>
                    <a:lnTo>
                      <a:pt x="445" y="1129"/>
                    </a:lnTo>
                    <a:lnTo>
                      <a:pt x="447" y="1134"/>
                    </a:lnTo>
                    <a:lnTo>
                      <a:pt x="443" y="1129"/>
                    </a:lnTo>
                    <a:lnTo>
                      <a:pt x="437" y="1131"/>
                    </a:lnTo>
                    <a:lnTo>
                      <a:pt x="435" y="1132"/>
                    </a:lnTo>
                    <a:lnTo>
                      <a:pt x="435" y="1131"/>
                    </a:lnTo>
                    <a:lnTo>
                      <a:pt x="430" y="1134"/>
                    </a:lnTo>
                    <a:lnTo>
                      <a:pt x="434" y="1132"/>
                    </a:lnTo>
                    <a:lnTo>
                      <a:pt x="430" y="1131"/>
                    </a:lnTo>
                    <a:lnTo>
                      <a:pt x="437" y="1131"/>
                    </a:lnTo>
                    <a:lnTo>
                      <a:pt x="442" y="1129"/>
                    </a:lnTo>
                    <a:lnTo>
                      <a:pt x="439" y="1126"/>
                    </a:lnTo>
                    <a:lnTo>
                      <a:pt x="440" y="1124"/>
                    </a:lnTo>
                    <a:lnTo>
                      <a:pt x="439" y="1123"/>
                    </a:lnTo>
                    <a:lnTo>
                      <a:pt x="440" y="1124"/>
                    </a:lnTo>
                    <a:lnTo>
                      <a:pt x="442" y="1121"/>
                    </a:lnTo>
                    <a:lnTo>
                      <a:pt x="440" y="1119"/>
                    </a:lnTo>
                    <a:lnTo>
                      <a:pt x="442" y="1121"/>
                    </a:lnTo>
                    <a:lnTo>
                      <a:pt x="442" y="1127"/>
                    </a:lnTo>
                    <a:lnTo>
                      <a:pt x="447" y="1126"/>
                    </a:lnTo>
                    <a:lnTo>
                      <a:pt x="448" y="1124"/>
                    </a:lnTo>
                    <a:lnTo>
                      <a:pt x="448" y="1123"/>
                    </a:lnTo>
                    <a:lnTo>
                      <a:pt x="448" y="1121"/>
                    </a:lnTo>
                    <a:lnTo>
                      <a:pt x="448" y="1123"/>
                    </a:lnTo>
                    <a:lnTo>
                      <a:pt x="450" y="1119"/>
                    </a:lnTo>
                    <a:lnTo>
                      <a:pt x="453" y="1119"/>
                    </a:lnTo>
                    <a:lnTo>
                      <a:pt x="450" y="1123"/>
                    </a:lnTo>
                    <a:lnTo>
                      <a:pt x="448" y="1126"/>
                    </a:lnTo>
                    <a:lnTo>
                      <a:pt x="455" y="1126"/>
                    </a:lnTo>
                    <a:lnTo>
                      <a:pt x="460" y="1123"/>
                    </a:lnTo>
                    <a:lnTo>
                      <a:pt x="463" y="1126"/>
                    </a:lnTo>
                    <a:lnTo>
                      <a:pt x="470" y="1119"/>
                    </a:lnTo>
                    <a:lnTo>
                      <a:pt x="466" y="1118"/>
                    </a:lnTo>
                    <a:lnTo>
                      <a:pt x="466" y="1111"/>
                    </a:lnTo>
                    <a:lnTo>
                      <a:pt x="465" y="1111"/>
                    </a:lnTo>
                    <a:lnTo>
                      <a:pt x="473" y="1106"/>
                    </a:lnTo>
                    <a:lnTo>
                      <a:pt x="471" y="1104"/>
                    </a:lnTo>
                    <a:lnTo>
                      <a:pt x="475" y="1101"/>
                    </a:lnTo>
                    <a:lnTo>
                      <a:pt x="480" y="1100"/>
                    </a:lnTo>
                    <a:lnTo>
                      <a:pt x="485" y="1101"/>
                    </a:lnTo>
                    <a:lnTo>
                      <a:pt x="481" y="1095"/>
                    </a:lnTo>
                    <a:lnTo>
                      <a:pt x="480" y="1096"/>
                    </a:lnTo>
                    <a:lnTo>
                      <a:pt x="478" y="1095"/>
                    </a:lnTo>
                    <a:lnTo>
                      <a:pt x="478" y="1096"/>
                    </a:lnTo>
                    <a:lnTo>
                      <a:pt x="476" y="1096"/>
                    </a:lnTo>
                    <a:lnTo>
                      <a:pt x="475" y="1095"/>
                    </a:lnTo>
                    <a:lnTo>
                      <a:pt x="471" y="1091"/>
                    </a:lnTo>
                    <a:lnTo>
                      <a:pt x="470" y="1090"/>
                    </a:lnTo>
                    <a:lnTo>
                      <a:pt x="470" y="1091"/>
                    </a:lnTo>
                    <a:lnTo>
                      <a:pt x="468" y="1091"/>
                    </a:lnTo>
                    <a:lnTo>
                      <a:pt x="468" y="1090"/>
                    </a:lnTo>
                    <a:lnTo>
                      <a:pt x="463" y="1090"/>
                    </a:lnTo>
                    <a:lnTo>
                      <a:pt x="465" y="1088"/>
                    </a:lnTo>
                    <a:lnTo>
                      <a:pt x="463" y="1086"/>
                    </a:lnTo>
                    <a:lnTo>
                      <a:pt x="465" y="1088"/>
                    </a:lnTo>
                    <a:lnTo>
                      <a:pt x="466" y="1086"/>
                    </a:lnTo>
                    <a:lnTo>
                      <a:pt x="468" y="1088"/>
                    </a:lnTo>
                    <a:lnTo>
                      <a:pt x="473" y="1088"/>
                    </a:lnTo>
                    <a:lnTo>
                      <a:pt x="475" y="1091"/>
                    </a:lnTo>
                    <a:lnTo>
                      <a:pt x="478" y="1091"/>
                    </a:lnTo>
                    <a:lnTo>
                      <a:pt x="483" y="1085"/>
                    </a:lnTo>
                    <a:lnTo>
                      <a:pt x="480" y="1083"/>
                    </a:lnTo>
                    <a:lnTo>
                      <a:pt x="478" y="1083"/>
                    </a:lnTo>
                    <a:lnTo>
                      <a:pt x="475" y="1081"/>
                    </a:lnTo>
                    <a:lnTo>
                      <a:pt x="471" y="1080"/>
                    </a:lnTo>
                    <a:lnTo>
                      <a:pt x="476" y="1083"/>
                    </a:lnTo>
                    <a:lnTo>
                      <a:pt x="480" y="1080"/>
                    </a:lnTo>
                    <a:lnTo>
                      <a:pt x="478" y="1077"/>
                    </a:lnTo>
                    <a:lnTo>
                      <a:pt x="473" y="1070"/>
                    </a:lnTo>
                    <a:lnTo>
                      <a:pt x="471" y="1067"/>
                    </a:lnTo>
                    <a:lnTo>
                      <a:pt x="468" y="1067"/>
                    </a:lnTo>
                    <a:lnTo>
                      <a:pt x="466" y="1067"/>
                    </a:lnTo>
                    <a:lnTo>
                      <a:pt x="465" y="1065"/>
                    </a:lnTo>
                    <a:lnTo>
                      <a:pt x="463" y="1063"/>
                    </a:lnTo>
                    <a:lnTo>
                      <a:pt x="465" y="1065"/>
                    </a:lnTo>
                    <a:lnTo>
                      <a:pt x="468" y="1065"/>
                    </a:lnTo>
                    <a:lnTo>
                      <a:pt x="475" y="1067"/>
                    </a:lnTo>
                    <a:lnTo>
                      <a:pt x="475" y="1065"/>
                    </a:lnTo>
                    <a:lnTo>
                      <a:pt x="476" y="1068"/>
                    </a:lnTo>
                    <a:lnTo>
                      <a:pt x="478" y="1072"/>
                    </a:lnTo>
                    <a:lnTo>
                      <a:pt x="478" y="1075"/>
                    </a:lnTo>
                    <a:lnTo>
                      <a:pt x="481" y="1070"/>
                    </a:lnTo>
                    <a:lnTo>
                      <a:pt x="483" y="1068"/>
                    </a:lnTo>
                    <a:lnTo>
                      <a:pt x="481" y="1065"/>
                    </a:lnTo>
                    <a:lnTo>
                      <a:pt x="483" y="1068"/>
                    </a:lnTo>
                    <a:lnTo>
                      <a:pt x="486" y="1065"/>
                    </a:lnTo>
                    <a:lnTo>
                      <a:pt x="485" y="1063"/>
                    </a:lnTo>
                    <a:lnTo>
                      <a:pt x="486" y="1063"/>
                    </a:lnTo>
                    <a:lnTo>
                      <a:pt x="488" y="1065"/>
                    </a:lnTo>
                    <a:lnTo>
                      <a:pt x="489" y="1065"/>
                    </a:lnTo>
                    <a:lnTo>
                      <a:pt x="488" y="1058"/>
                    </a:lnTo>
                    <a:lnTo>
                      <a:pt x="485" y="1058"/>
                    </a:lnTo>
                    <a:lnTo>
                      <a:pt x="488" y="1057"/>
                    </a:lnTo>
                    <a:lnTo>
                      <a:pt x="485" y="1055"/>
                    </a:lnTo>
                    <a:lnTo>
                      <a:pt x="483" y="1055"/>
                    </a:lnTo>
                    <a:lnTo>
                      <a:pt x="485" y="1053"/>
                    </a:lnTo>
                    <a:lnTo>
                      <a:pt x="486" y="1055"/>
                    </a:lnTo>
                    <a:lnTo>
                      <a:pt x="488" y="1058"/>
                    </a:lnTo>
                    <a:lnTo>
                      <a:pt x="493" y="1057"/>
                    </a:lnTo>
                    <a:lnTo>
                      <a:pt x="489" y="1052"/>
                    </a:lnTo>
                    <a:lnTo>
                      <a:pt x="493" y="1049"/>
                    </a:lnTo>
                    <a:lnTo>
                      <a:pt x="491" y="1047"/>
                    </a:lnTo>
                    <a:lnTo>
                      <a:pt x="488" y="1050"/>
                    </a:lnTo>
                    <a:lnTo>
                      <a:pt x="488" y="1047"/>
                    </a:lnTo>
                    <a:lnTo>
                      <a:pt x="486" y="1045"/>
                    </a:lnTo>
                    <a:lnTo>
                      <a:pt x="481" y="1044"/>
                    </a:lnTo>
                    <a:lnTo>
                      <a:pt x="485" y="1044"/>
                    </a:lnTo>
                    <a:lnTo>
                      <a:pt x="481" y="1039"/>
                    </a:lnTo>
                    <a:lnTo>
                      <a:pt x="481" y="1035"/>
                    </a:lnTo>
                    <a:lnTo>
                      <a:pt x="485" y="1042"/>
                    </a:lnTo>
                    <a:lnTo>
                      <a:pt x="486" y="1044"/>
                    </a:lnTo>
                    <a:lnTo>
                      <a:pt x="488" y="1047"/>
                    </a:lnTo>
                    <a:lnTo>
                      <a:pt x="491" y="1044"/>
                    </a:lnTo>
                    <a:lnTo>
                      <a:pt x="494" y="1042"/>
                    </a:lnTo>
                    <a:lnTo>
                      <a:pt x="493" y="1040"/>
                    </a:lnTo>
                    <a:lnTo>
                      <a:pt x="494" y="1035"/>
                    </a:lnTo>
                    <a:lnTo>
                      <a:pt x="498" y="1030"/>
                    </a:lnTo>
                    <a:lnTo>
                      <a:pt x="501" y="1027"/>
                    </a:lnTo>
                    <a:lnTo>
                      <a:pt x="496" y="1034"/>
                    </a:lnTo>
                    <a:lnTo>
                      <a:pt x="494" y="1044"/>
                    </a:lnTo>
                    <a:lnTo>
                      <a:pt x="491" y="1045"/>
                    </a:lnTo>
                    <a:lnTo>
                      <a:pt x="494" y="1049"/>
                    </a:lnTo>
                    <a:lnTo>
                      <a:pt x="493" y="1055"/>
                    </a:lnTo>
                    <a:lnTo>
                      <a:pt x="496" y="1055"/>
                    </a:lnTo>
                    <a:lnTo>
                      <a:pt x="498" y="1057"/>
                    </a:lnTo>
                    <a:lnTo>
                      <a:pt x="501" y="1057"/>
                    </a:lnTo>
                    <a:lnTo>
                      <a:pt x="504" y="1055"/>
                    </a:lnTo>
                    <a:lnTo>
                      <a:pt x="504" y="1052"/>
                    </a:lnTo>
                    <a:lnTo>
                      <a:pt x="508" y="1052"/>
                    </a:lnTo>
                    <a:lnTo>
                      <a:pt x="506" y="1050"/>
                    </a:lnTo>
                    <a:lnTo>
                      <a:pt x="508" y="1050"/>
                    </a:lnTo>
                    <a:lnTo>
                      <a:pt x="509" y="1049"/>
                    </a:lnTo>
                    <a:lnTo>
                      <a:pt x="511" y="1050"/>
                    </a:lnTo>
                    <a:lnTo>
                      <a:pt x="511" y="1052"/>
                    </a:lnTo>
                    <a:lnTo>
                      <a:pt x="511" y="1053"/>
                    </a:lnTo>
                    <a:lnTo>
                      <a:pt x="504" y="1053"/>
                    </a:lnTo>
                    <a:lnTo>
                      <a:pt x="509" y="1055"/>
                    </a:lnTo>
                    <a:lnTo>
                      <a:pt x="508" y="1057"/>
                    </a:lnTo>
                    <a:lnTo>
                      <a:pt x="506" y="1055"/>
                    </a:lnTo>
                    <a:lnTo>
                      <a:pt x="506" y="1058"/>
                    </a:lnTo>
                    <a:lnTo>
                      <a:pt x="504" y="1055"/>
                    </a:lnTo>
                    <a:lnTo>
                      <a:pt x="501" y="1057"/>
                    </a:lnTo>
                    <a:lnTo>
                      <a:pt x="501" y="1058"/>
                    </a:lnTo>
                    <a:lnTo>
                      <a:pt x="501" y="1057"/>
                    </a:lnTo>
                    <a:lnTo>
                      <a:pt x="496" y="1058"/>
                    </a:lnTo>
                    <a:lnTo>
                      <a:pt x="496" y="1055"/>
                    </a:lnTo>
                    <a:lnTo>
                      <a:pt x="489" y="1058"/>
                    </a:lnTo>
                    <a:lnTo>
                      <a:pt x="491" y="1063"/>
                    </a:lnTo>
                    <a:lnTo>
                      <a:pt x="488" y="1067"/>
                    </a:lnTo>
                    <a:lnTo>
                      <a:pt x="489" y="1068"/>
                    </a:lnTo>
                    <a:lnTo>
                      <a:pt x="488" y="1068"/>
                    </a:lnTo>
                    <a:lnTo>
                      <a:pt x="486" y="1068"/>
                    </a:lnTo>
                    <a:lnTo>
                      <a:pt x="489" y="1080"/>
                    </a:lnTo>
                    <a:lnTo>
                      <a:pt x="493" y="1080"/>
                    </a:lnTo>
                    <a:lnTo>
                      <a:pt x="493" y="1077"/>
                    </a:lnTo>
                    <a:lnTo>
                      <a:pt x="493" y="1080"/>
                    </a:lnTo>
                    <a:lnTo>
                      <a:pt x="491" y="1081"/>
                    </a:lnTo>
                    <a:lnTo>
                      <a:pt x="489" y="1095"/>
                    </a:lnTo>
                    <a:lnTo>
                      <a:pt x="494" y="1093"/>
                    </a:lnTo>
                    <a:lnTo>
                      <a:pt x="496" y="1095"/>
                    </a:lnTo>
                    <a:lnTo>
                      <a:pt x="496" y="1091"/>
                    </a:lnTo>
                    <a:lnTo>
                      <a:pt x="498" y="1090"/>
                    </a:lnTo>
                    <a:lnTo>
                      <a:pt x="496" y="1086"/>
                    </a:lnTo>
                    <a:lnTo>
                      <a:pt x="499" y="1085"/>
                    </a:lnTo>
                    <a:lnTo>
                      <a:pt x="499" y="1077"/>
                    </a:lnTo>
                    <a:lnTo>
                      <a:pt x="499" y="1085"/>
                    </a:lnTo>
                    <a:lnTo>
                      <a:pt x="503" y="1083"/>
                    </a:lnTo>
                    <a:lnTo>
                      <a:pt x="498" y="1088"/>
                    </a:lnTo>
                    <a:lnTo>
                      <a:pt x="501" y="1088"/>
                    </a:lnTo>
                    <a:lnTo>
                      <a:pt x="499" y="1091"/>
                    </a:lnTo>
                    <a:lnTo>
                      <a:pt x="501" y="1091"/>
                    </a:lnTo>
                    <a:lnTo>
                      <a:pt x="504" y="1091"/>
                    </a:lnTo>
                    <a:lnTo>
                      <a:pt x="503" y="1091"/>
                    </a:lnTo>
                    <a:lnTo>
                      <a:pt x="501" y="1091"/>
                    </a:lnTo>
                    <a:lnTo>
                      <a:pt x="499" y="1091"/>
                    </a:lnTo>
                    <a:lnTo>
                      <a:pt x="498" y="1098"/>
                    </a:lnTo>
                    <a:lnTo>
                      <a:pt x="494" y="1096"/>
                    </a:lnTo>
                    <a:lnTo>
                      <a:pt x="493" y="1098"/>
                    </a:lnTo>
                    <a:lnTo>
                      <a:pt x="493" y="1103"/>
                    </a:lnTo>
                    <a:lnTo>
                      <a:pt x="494" y="1104"/>
                    </a:lnTo>
                    <a:lnTo>
                      <a:pt x="499" y="1098"/>
                    </a:lnTo>
                    <a:lnTo>
                      <a:pt x="504" y="1096"/>
                    </a:lnTo>
                    <a:lnTo>
                      <a:pt x="504" y="1093"/>
                    </a:lnTo>
                    <a:lnTo>
                      <a:pt x="508" y="1090"/>
                    </a:lnTo>
                    <a:lnTo>
                      <a:pt x="508" y="1078"/>
                    </a:lnTo>
                    <a:lnTo>
                      <a:pt x="509" y="1078"/>
                    </a:lnTo>
                    <a:lnTo>
                      <a:pt x="509" y="1075"/>
                    </a:lnTo>
                    <a:lnTo>
                      <a:pt x="516" y="1068"/>
                    </a:lnTo>
                    <a:lnTo>
                      <a:pt x="522" y="1067"/>
                    </a:lnTo>
                    <a:lnTo>
                      <a:pt x="526" y="1070"/>
                    </a:lnTo>
                    <a:lnTo>
                      <a:pt x="526" y="1073"/>
                    </a:lnTo>
                    <a:lnTo>
                      <a:pt x="527" y="1073"/>
                    </a:lnTo>
                    <a:lnTo>
                      <a:pt x="531" y="1070"/>
                    </a:lnTo>
                    <a:lnTo>
                      <a:pt x="531" y="1068"/>
                    </a:lnTo>
                    <a:lnTo>
                      <a:pt x="532" y="1067"/>
                    </a:lnTo>
                    <a:lnTo>
                      <a:pt x="532" y="1063"/>
                    </a:lnTo>
                    <a:lnTo>
                      <a:pt x="535" y="1063"/>
                    </a:lnTo>
                    <a:lnTo>
                      <a:pt x="539" y="1057"/>
                    </a:lnTo>
                    <a:lnTo>
                      <a:pt x="542" y="1057"/>
                    </a:lnTo>
                    <a:lnTo>
                      <a:pt x="542" y="1053"/>
                    </a:lnTo>
                    <a:lnTo>
                      <a:pt x="547" y="1050"/>
                    </a:lnTo>
                    <a:lnTo>
                      <a:pt x="552" y="1052"/>
                    </a:lnTo>
                    <a:lnTo>
                      <a:pt x="554" y="1050"/>
                    </a:lnTo>
                    <a:lnTo>
                      <a:pt x="555" y="1053"/>
                    </a:lnTo>
                    <a:lnTo>
                      <a:pt x="562" y="1053"/>
                    </a:lnTo>
                    <a:lnTo>
                      <a:pt x="563" y="1053"/>
                    </a:lnTo>
                    <a:lnTo>
                      <a:pt x="565" y="1057"/>
                    </a:lnTo>
                    <a:lnTo>
                      <a:pt x="567" y="1060"/>
                    </a:lnTo>
                    <a:lnTo>
                      <a:pt x="568" y="1060"/>
                    </a:lnTo>
                    <a:lnTo>
                      <a:pt x="570" y="1053"/>
                    </a:lnTo>
                    <a:lnTo>
                      <a:pt x="575" y="1050"/>
                    </a:lnTo>
                    <a:lnTo>
                      <a:pt x="573" y="1047"/>
                    </a:lnTo>
                    <a:lnTo>
                      <a:pt x="575" y="1044"/>
                    </a:lnTo>
                    <a:lnTo>
                      <a:pt x="580" y="1042"/>
                    </a:lnTo>
                    <a:lnTo>
                      <a:pt x="578" y="1040"/>
                    </a:lnTo>
                    <a:lnTo>
                      <a:pt x="580" y="1039"/>
                    </a:lnTo>
                    <a:lnTo>
                      <a:pt x="573" y="1037"/>
                    </a:lnTo>
                    <a:lnTo>
                      <a:pt x="575" y="1032"/>
                    </a:lnTo>
                    <a:lnTo>
                      <a:pt x="573" y="1032"/>
                    </a:lnTo>
                    <a:lnTo>
                      <a:pt x="575" y="1032"/>
                    </a:lnTo>
                    <a:lnTo>
                      <a:pt x="575" y="1030"/>
                    </a:lnTo>
                    <a:lnTo>
                      <a:pt x="575" y="1029"/>
                    </a:lnTo>
                    <a:lnTo>
                      <a:pt x="577" y="1027"/>
                    </a:lnTo>
                    <a:lnTo>
                      <a:pt x="575" y="1024"/>
                    </a:lnTo>
                    <a:lnTo>
                      <a:pt x="575" y="1021"/>
                    </a:lnTo>
                    <a:lnTo>
                      <a:pt x="580" y="1017"/>
                    </a:lnTo>
                    <a:lnTo>
                      <a:pt x="581" y="1016"/>
                    </a:lnTo>
                    <a:lnTo>
                      <a:pt x="585" y="1016"/>
                    </a:lnTo>
                    <a:lnTo>
                      <a:pt x="585" y="1012"/>
                    </a:lnTo>
                    <a:lnTo>
                      <a:pt x="581" y="1009"/>
                    </a:lnTo>
                    <a:lnTo>
                      <a:pt x="580" y="1004"/>
                    </a:lnTo>
                    <a:lnTo>
                      <a:pt x="581" y="1001"/>
                    </a:lnTo>
                    <a:lnTo>
                      <a:pt x="583" y="999"/>
                    </a:lnTo>
                    <a:lnTo>
                      <a:pt x="595" y="994"/>
                    </a:lnTo>
                    <a:lnTo>
                      <a:pt x="601" y="993"/>
                    </a:lnTo>
                    <a:lnTo>
                      <a:pt x="603" y="991"/>
                    </a:lnTo>
                    <a:lnTo>
                      <a:pt x="603" y="993"/>
                    </a:lnTo>
                    <a:lnTo>
                      <a:pt x="601" y="991"/>
                    </a:lnTo>
                    <a:lnTo>
                      <a:pt x="604" y="991"/>
                    </a:lnTo>
                    <a:lnTo>
                      <a:pt x="601" y="989"/>
                    </a:lnTo>
                    <a:lnTo>
                      <a:pt x="606" y="989"/>
                    </a:lnTo>
                    <a:lnTo>
                      <a:pt x="608" y="993"/>
                    </a:lnTo>
                    <a:lnTo>
                      <a:pt x="611" y="994"/>
                    </a:lnTo>
                    <a:lnTo>
                      <a:pt x="609" y="1004"/>
                    </a:lnTo>
                    <a:lnTo>
                      <a:pt x="613" y="1006"/>
                    </a:lnTo>
                    <a:lnTo>
                      <a:pt x="613" y="1007"/>
                    </a:lnTo>
                    <a:lnTo>
                      <a:pt x="614" y="1006"/>
                    </a:lnTo>
                    <a:lnTo>
                      <a:pt x="616" y="1003"/>
                    </a:lnTo>
                    <a:lnTo>
                      <a:pt x="619" y="1003"/>
                    </a:lnTo>
                    <a:lnTo>
                      <a:pt x="624" y="999"/>
                    </a:lnTo>
                    <a:lnTo>
                      <a:pt x="627" y="994"/>
                    </a:lnTo>
                    <a:lnTo>
                      <a:pt x="627" y="991"/>
                    </a:lnTo>
                    <a:lnTo>
                      <a:pt x="626" y="991"/>
                    </a:lnTo>
                    <a:lnTo>
                      <a:pt x="626" y="989"/>
                    </a:lnTo>
                    <a:lnTo>
                      <a:pt x="629" y="989"/>
                    </a:lnTo>
                    <a:lnTo>
                      <a:pt x="627" y="993"/>
                    </a:lnTo>
                    <a:lnTo>
                      <a:pt x="629" y="996"/>
                    </a:lnTo>
                    <a:lnTo>
                      <a:pt x="636" y="994"/>
                    </a:lnTo>
                    <a:lnTo>
                      <a:pt x="626" y="999"/>
                    </a:lnTo>
                    <a:lnTo>
                      <a:pt x="626" y="1001"/>
                    </a:lnTo>
                    <a:lnTo>
                      <a:pt x="632" y="1003"/>
                    </a:lnTo>
                    <a:lnTo>
                      <a:pt x="637" y="999"/>
                    </a:lnTo>
                    <a:lnTo>
                      <a:pt x="639" y="1003"/>
                    </a:lnTo>
                    <a:lnTo>
                      <a:pt x="644" y="998"/>
                    </a:lnTo>
                    <a:lnTo>
                      <a:pt x="647" y="998"/>
                    </a:lnTo>
                    <a:lnTo>
                      <a:pt x="657" y="1003"/>
                    </a:lnTo>
                    <a:lnTo>
                      <a:pt x="665" y="1001"/>
                    </a:lnTo>
                    <a:lnTo>
                      <a:pt x="669" y="999"/>
                    </a:lnTo>
                    <a:lnTo>
                      <a:pt x="669" y="998"/>
                    </a:lnTo>
                    <a:lnTo>
                      <a:pt x="673" y="999"/>
                    </a:lnTo>
                    <a:lnTo>
                      <a:pt x="675" y="994"/>
                    </a:lnTo>
                    <a:lnTo>
                      <a:pt x="680" y="996"/>
                    </a:lnTo>
                    <a:lnTo>
                      <a:pt x="683" y="998"/>
                    </a:lnTo>
                    <a:lnTo>
                      <a:pt x="683" y="994"/>
                    </a:lnTo>
                    <a:lnTo>
                      <a:pt x="690" y="991"/>
                    </a:lnTo>
                    <a:lnTo>
                      <a:pt x="692" y="988"/>
                    </a:lnTo>
                    <a:lnTo>
                      <a:pt x="690" y="988"/>
                    </a:lnTo>
                    <a:lnTo>
                      <a:pt x="692" y="986"/>
                    </a:lnTo>
                    <a:lnTo>
                      <a:pt x="695" y="983"/>
                    </a:lnTo>
                    <a:lnTo>
                      <a:pt x="708" y="980"/>
                    </a:lnTo>
                    <a:lnTo>
                      <a:pt x="711" y="981"/>
                    </a:lnTo>
                    <a:lnTo>
                      <a:pt x="713" y="980"/>
                    </a:lnTo>
                    <a:lnTo>
                      <a:pt x="721" y="983"/>
                    </a:lnTo>
                    <a:lnTo>
                      <a:pt x="738" y="981"/>
                    </a:lnTo>
                    <a:lnTo>
                      <a:pt x="752" y="984"/>
                    </a:lnTo>
                    <a:lnTo>
                      <a:pt x="770" y="998"/>
                    </a:lnTo>
                    <a:lnTo>
                      <a:pt x="772" y="1003"/>
                    </a:lnTo>
                    <a:lnTo>
                      <a:pt x="770" y="1006"/>
                    </a:lnTo>
                    <a:lnTo>
                      <a:pt x="770" y="1009"/>
                    </a:lnTo>
                    <a:lnTo>
                      <a:pt x="775" y="1006"/>
                    </a:lnTo>
                    <a:lnTo>
                      <a:pt x="784" y="1006"/>
                    </a:lnTo>
                    <a:lnTo>
                      <a:pt x="784" y="1003"/>
                    </a:lnTo>
                    <a:lnTo>
                      <a:pt x="779" y="999"/>
                    </a:lnTo>
                    <a:lnTo>
                      <a:pt x="779" y="998"/>
                    </a:lnTo>
                    <a:lnTo>
                      <a:pt x="784" y="993"/>
                    </a:lnTo>
                    <a:lnTo>
                      <a:pt x="790" y="993"/>
                    </a:lnTo>
                    <a:lnTo>
                      <a:pt x="792" y="989"/>
                    </a:lnTo>
                    <a:lnTo>
                      <a:pt x="789" y="983"/>
                    </a:lnTo>
                    <a:lnTo>
                      <a:pt x="787" y="981"/>
                    </a:lnTo>
                    <a:lnTo>
                      <a:pt x="782" y="986"/>
                    </a:lnTo>
                    <a:lnTo>
                      <a:pt x="782" y="988"/>
                    </a:lnTo>
                    <a:lnTo>
                      <a:pt x="779" y="989"/>
                    </a:lnTo>
                    <a:lnTo>
                      <a:pt x="777" y="989"/>
                    </a:lnTo>
                    <a:lnTo>
                      <a:pt x="775" y="988"/>
                    </a:lnTo>
                    <a:lnTo>
                      <a:pt x="779" y="989"/>
                    </a:lnTo>
                    <a:lnTo>
                      <a:pt x="780" y="986"/>
                    </a:lnTo>
                    <a:lnTo>
                      <a:pt x="780" y="983"/>
                    </a:lnTo>
                    <a:lnTo>
                      <a:pt x="777" y="981"/>
                    </a:lnTo>
                    <a:lnTo>
                      <a:pt x="775" y="983"/>
                    </a:lnTo>
                    <a:lnTo>
                      <a:pt x="770" y="983"/>
                    </a:lnTo>
                    <a:lnTo>
                      <a:pt x="774" y="981"/>
                    </a:lnTo>
                    <a:lnTo>
                      <a:pt x="767" y="981"/>
                    </a:lnTo>
                    <a:lnTo>
                      <a:pt x="766" y="981"/>
                    </a:lnTo>
                    <a:lnTo>
                      <a:pt x="767" y="980"/>
                    </a:lnTo>
                    <a:lnTo>
                      <a:pt x="770" y="980"/>
                    </a:lnTo>
                    <a:lnTo>
                      <a:pt x="772" y="978"/>
                    </a:lnTo>
                    <a:lnTo>
                      <a:pt x="770" y="976"/>
                    </a:lnTo>
                    <a:lnTo>
                      <a:pt x="772" y="978"/>
                    </a:lnTo>
                    <a:lnTo>
                      <a:pt x="772" y="980"/>
                    </a:lnTo>
                    <a:lnTo>
                      <a:pt x="777" y="978"/>
                    </a:lnTo>
                    <a:lnTo>
                      <a:pt x="775" y="975"/>
                    </a:lnTo>
                    <a:lnTo>
                      <a:pt x="779" y="976"/>
                    </a:lnTo>
                    <a:lnTo>
                      <a:pt x="782" y="975"/>
                    </a:lnTo>
                    <a:lnTo>
                      <a:pt x="780" y="973"/>
                    </a:lnTo>
                    <a:lnTo>
                      <a:pt x="779" y="973"/>
                    </a:lnTo>
                    <a:lnTo>
                      <a:pt x="779" y="971"/>
                    </a:lnTo>
                    <a:lnTo>
                      <a:pt x="780" y="970"/>
                    </a:lnTo>
                    <a:lnTo>
                      <a:pt x="777" y="968"/>
                    </a:lnTo>
                    <a:lnTo>
                      <a:pt x="779" y="968"/>
                    </a:lnTo>
                    <a:lnTo>
                      <a:pt x="775" y="965"/>
                    </a:lnTo>
                    <a:lnTo>
                      <a:pt x="769" y="966"/>
                    </a:lnTo>
                    <a:lnTo>
                      <a:pt x="767" y="968"/>
                    </a:lnTo>
                    <a:lnTo>
                      <a:pt x="767" y="970"/>
                    </a:lnTo>
                    <a:lnTo>
                      <a:pt x="762" y="973"/>
                    </a:lnTo>
                    <a:lnTo>
                      <a:pt x="762" y="975"/>
                    </a:lnTo>
                    <a:lnTo>
                      <a:pt x="757" y="973"/>
                    </a:lnTo>
                    <a:lnTo>
                      <a:pt x="756" y="975"/>
                    </a:lnTo>
                    <a:lnTo>
                      <a:pt x="756" y="978"/>
                    </a:lnTo>
                    <a:lnTo>
                      <a:pt x="754" y="976"/>
                    </a:lnTo>
                    <a:lnTo>
                      <a:pt x="751" y="978"/>
                    </a:lnTo>
                    <a:lnTo>
                      <a:pt x="751" y="976"/>
                    </a:lnTo>
                    <a:lnTo>
                      <a:pt x="756" y="975"/>
                    </a:lnTo>
                    <a:lnTo>
                      <a:pt x="752" y="975"/>
                    </a:lnTo>
                    <a:lnTo>
                      <a:pt x="746" y="968"/>
                    </a:lnTo>
                    <a:lnTo>
                      <a:pt x="746" y="970"/>
                    </a:lnTo>
                    <a:lnTo>
                      <a:pt x="744" y="970"/>
                    </a:lnTo>
                    <a:lnTo>
                      <a:pt x="743" y="971"/>
                    </a:lnTo>
                    <a:lnTo>
                      <a:pt x="743" y="975"/>
                    </a:lnTo>
                    <a:lnTo>
                      <a:pt x="743" y="971"/>
                    </a:lnTo>
                    <a:lnTo>
                      <a:pt x="744" y="970"/>
                    </a:lnTo>
                    <a:lnTo>
                      <a:pt x="746" y="970"/>
                    </a:lnTo>
                    <a:lnTo>
                      <a:pt x="746" y="968"/>
                    </a:lnTo>
                    <a:lnTo>
                      <a:pt x="741" y="968"/>
                    </a:lnTo>
                    <a:lnTo>
                      <a:pt x="741" y="966"/>
                    </a:lnTo>
                    <a:lnTo>
                      <a:pt x="738" y="966"/>
                    </a:lnTo>
                    <a:lnTo>
                      <a:pt x="741" y="965"/>
                    </a:lnTo>
                    <a:lnTo>
                      <a:pt x="743" y="966"/>
                    </a:lnTo>
                    <a:lnTo>
                      <a:pt x="744" y="963"/>
                    </a:lnTo>
                    <a:lnTo>
                      <a:pt x="743" y="961"/>
                    </a:lnTo>
                    <a:lnTo>
                      <a:pt x="743" y="960"/>
                    </a:lnTo>
                    <a:lnTo>
                      <a:pt x="744" y="958"/>
                    </a:lnTo>
                    <a:lnTo>
                      <a:pt x="743" y="960"/>
                    </a:lnTo>
                    <a:lnTo>
                      <a:pt x="746" y="960"/>
                    </a:lnTo>
                    <a:lnTo>
                      <a:pt x="744" y="961"/>
                    </a:lnTo>
                    <a:lnTo>
                      <a:pt x="746" y="961"/>
                    </a:lnTo>
                    <a:lnTo>
                      <a:pt x="744" y="965"/>
                    </a:lnTo>
                    <a:lnTo>
                      <a:pt x="746" y="966"/>
                    </a:lnTo>
                    <a:lnTo>
                      <a:pt x="747" y="963"/>
                    </a:lnTo>
                    <a:lnTo>
                      <a:pt x="751" y="961"/>
                    </a:lnTo>
                    <a:lnTo>
                      <a:pt x="752" y="953"/>
                    </a:lnTo>
                    <a:lnTo>
                      <a:pt x="754" y="952"/>
                    </a:lnTo>
                    <a:lnTo>
                      <a:pt x="752" y="952"/>
                    </a:lnTo>
                    <a:lnTo>
                      <a:pt x="752" y="953"/>
                    </a:lnTo>
                    <a:lnTo>
                      <a:pt x="752" y="955"/>
                    </a:lnTo>
                    <a:lnTo>
                      <a:pt x="751" y="961"/>
                    </a:lnTo>
                    <a:lnTo>
                      <a:pt x="752" y="961"/>
                    </a:lnTo>
                    <a:lnTo>
                      <a:pt x="751" y="961"/>
                    </a:lnTo>
                    <a:lnTo>
                      <a:pt x="747" y="966"/>
                    </a:lnTo>
                    <a:lnTo>
                      <a:pt x="749" y="965"/>
                    </a:lnTo>
                    <a:lnTo>
                      <a:pt x="749" y="966"/>
                    </a:lnTo>
                    <a:lnTo>
                      <a:pt x="751" y="965"/>
                    </a:lnTo>
                    <a:lnTo>
                      <a:pt x="747" y="968"/>
                    </a:lnTo>
                    <a:lnTo>
                      <a:pt x="749" y="970"/>
                    </a:lnTo>
                    <a:lnTo>
                      <a:pt x="751" y="966"/>
                    </a:lnTo>
                    <a:lnTo>
                      <a:pt x="749" y="970"/>
                    </a:lnTo>
                    <a:lnTo>
                      <a:pt x="752" y="973"/>
                    </a:lnTo>
                    <a:lnTo>
                      <a:pt x="754" y="971"/>
                    </a:lnTo>
                    <a:lnTo>
                      <a:pt x="754" y="968"/>
                    </a:lnTo>
                    <a:lnTo>
                      <a:pt x="761" y="970"/>
                    </a:lnTo>
                    <a:lnTo>
                      <a:pt x="764" y="968"/>
                    </a:lnTo>
                    <a:lnTo>
                      <a:pt x="761" y="966"/>
                    </a:lnTo>
                    <a:lnTo>
                      <a:pt x="762" y="966"/>
                    </a:lnTo>
                    <a:lnTo>
                      <a:pt x="761" y="965"/>
                    </a:lnTo>
                    <a:lnTo>
                      <a:pt x="762" y="965"/>
                    </a:lnTo>
                    <a:lnTo>
                      <a:pt x="764" y="966"/>
                    </a:lnTo>
                    <a:lnTo>
                      <a:pt x="767" y="965"/>
                    </a:lnTo>
                    <a:lnTo>
                      <a:pt x="767" y="960"/>
                    </a:lnTo>
                    <a:lnTo>
                      <a:pt x="769" y="961"/>
                    </a:lnTo>
                    <a:lnTo>
                      <a:pt x="769" y="965"/>
                    </a:lnTo>
                    <a:lnTo>
                      <a:pt x="770" y="963"/>
                    </a:lnTo>
                    <a:lnTo>
                      <a:pt x="775" y="961"/>
                    </a:lnTo>
                    <a:lnTo>
                      <a:pt x="775" y="958"/>
                    </a:lnTo>
                    <a:lnTo>
                      <a:pt x="774" y="958"/>
                    </a:lnTo>
                    <a:lnTo>
                      <a:pt x="777" y="956"/>
                    </a:lnTo>
                    <a:lnTo>
                      <a:pt x="775" y="952"/>
                    </a:lnTo>
                    <a:lnTo>
                      <a:pt x="774" y="952"/>
                    </a:lnTo>
                    <a:lnTo>
                      <a:pt x="775" y="947"/>
                    </a:lnTo>
                    <a:lnTo>
                      <a:pt x="772" y="947"/>
                    </a:lnTo>
                    <a:lnTo>
                      <a:pt x="772" y="948"/>
                    </a:lnTo>
                    <a:lnTo>
                      <a:pt x="770" y="948"/>
                    </a:lnTo>
                    <a:lnTo>
                      <a:pt x="772" y="947"/>
                    </a:lnTo>
                    <a:lnTo>
                      <a:pt x="769" y="947"/>
                    </a:lnTo>
                    <a:lnTo>
                      <a:pt x="770" y="947"/>
                    </a:lnTo>
                    <a:lnTo>
                      <a:pt x="769" y="945"/>
                    </a:lnTo>
                    <a:lnTo>
                      <a:pt x="770" y="942"/>
                    </a:lnTo>
                    <a:lnTo>
                      <a:pt x="767" y="938"/>
                    </a:lnTo>
                    <a:lnTo>
                      <a:pt x="770" y="942"/>
                    </a:lnTo>
                    <a:lnTo>
                      <a:pt x="770" y="945"/>
                    </a:lnTo>
                    <a:lnTo>
                      <a:pt x="772" y="947"/>
                    </a:lnTo>
                    <a:lnTo>
                      <a:pt x="774" y="943"/>
                    </a:lnTo>
                    <a:lnTo>
                      <a:pt x="779" y="943"/>
                    </a:lnTo>
                    <a:lnTo>
                      <a:pt x="779" y="940"/>
                    </a:lnTo>
                    <a:lnTo>
                      <a:pt x="777" y="938"/>
                    </a:lnTo>
                    <a:lnTo>
                      <a:pt x="779" y="937"/>
                    </a:lnTo>
                    <a:lnTo>
                      <a:pt x="775" y="935"/>
                    </a:lnTo>
                    <a:lnTo>
                      <a:pt x="775" y="930"/>
                    </a:lnTo>
                    <a:lnTo>
                      <a:pt x="774" y="925"/>
                    </a:lnTo>
                    <a:lnTo>
                      <a:pt x="769" y="930"/>
                    </a:lnTo>
                    <a:lnTo>
                      <a:pt x="766" y="929"/>
                    </a:lnTo>
                    <a:lnTo>
                      <a:pt x="766" y="925"/>
                    </a:lnTo>
                    <a:lnTo>
                      <a:pt x="762" y="924"/>
                    </a:lnTo>
                    <a:lnTo>
                      <a:pt x="766" y="925"/>
                    </a:lnTo>
                    <a:lnTo>
                      <a:pt x="772" y="919"/>
                    </a:lnTo>
                    <a:lnTo>
                      <a:pt x="772" y="914"/>
                    </a:lnTo>
                    <a:lnTo>
                      <a:pt x="770" y="910"/>
                    </a:lnTo>
                    <a:lnTo>
                      <a:pt x="769" y="910"/>
                    </a:lnTo>
                    <a:lnTo>
                      <a:pt x="770" y="910"/>
                    </a:lnTo>
                    <a:lnTo>
                      <a:pt x="772" y="906"/>
                    </a:lnTo>
                    <a:lnTo>
                      <a:pt x="770" y="912"/>
                    </a:lnTo>
                    <a:lnTo>
                      <a:pt x="774" y="914"/>
                    </a:lnTo>
                    <a:lnTo>
                      <a:pt x="774" y="919"/>
                    </a:lnTo>
                    <a:lnTo>
                      <a:pt x="767" y="924"/>
                    </a:lnTo>
                    <a:lnTo>
                      <a:pt x="767" y="929"/>
                    </a:lnTo>
                    <a:lnTo>
                      <a:pt x="769" y="929"/>
                    </a:lnTo>
                    <a:lnTo>
                      <a:pt x="770" y="924"/>
                    </a:lnTo>
                    <a:lnTo>
                      <a:pt x="774" y="924"/>
                    </a:lnTo>
                    <a:lnTo>
                      <a:pt x="779" y="930"/>
                    </a:lnTo>
                    <a:lnTo>
                      <a:pt x="782" y="930"/>
                    </a:lnTo>
                    <a:lnTo>
                      <a:pt x="780" y="933"/>
                    </a:lnTo>
                    <a:lnTo>
                      <a:pt x="780" y="930"/>
                    </a:lnTo>
                    <a:lnTo>
                      <a:pt x="779" y="930"/>
                    </a:lnTo>
                    <a:lnTo>
                      <a:pt x="780" y="935"/>
                    </a:lnTo>
                    <a:lnTo>
                      <a:pt x="782" y="938"/>
                    </a:lnTo>
                    <a:lnTo>
                      <a:pt x="782" y="942"/>
                    </a:lnTo>
                    <a:lnTo>
                      <a:pt x="785" y="942"/>
                    </a:lnTo>
                    <a:lnTo>
                      <a:pt x="790" y="932"/>
                    </a:lnTo>
                    <a:lnTo>
                      <a:pt x="792" y="930"/>
                    </a:lnTo>
                    <a:lnTo>
                      <a:pt x="793" y="929"/>
                    </a:lnTo>
                    <a:lnTo>
                      <a:pt x="793" y="927"/>
                    </a:lnTo>
                    <a:lnTo>
                      <a:pt x="797" y="925"/>
                    </a:lnTo>
                    <a:lnTo>
                      <a:pt x="795" y="927"/>
                    </a:lnTo>
                    <a:lnTo>
                      <a:pt x="795" y="929"/>
                    </a:lnTo>
                    <a:lnTo>
                      <a:pt x="792" y="933"/>
                    </a:lnTo>
                    <a:lnTo>
                      <a:pt x="795" y="935"/>
                    </a:lnTo>
                    <a:lnTo>
                      <a:pt x="792" y="933"/>
                    </a:lnTo>
                    <a:lnTo>
                      <a:pt x="789" y="942"/>
                    </a:lnTo>
                    <a:lnTo>
                      <a:pt x="784" y="945"/>
                    </a:lnTo>
                    <a:lnTo>
                      <a:pt x="784" y="947"/>
                    </a:lnTo>
                    <a:lnTo>
                      <a:pt x="785" y="947"/>
                    </a:lnTo>
                    <a:lnTo>
                      <a:pt x="787" y="948"/>
                    </a:lnTo>
                    <a:lnTo>
                      <a:pt x="792" y="945"/>
                    </a:lnTo>
                    <a:lnTo>
                      <a:pt x="793" y="945"/>
                    </a:lnTo>
                    <a:lnTo>
                      <a:pt x="790" y="948"/>
                    </a:lnTo>
                    <a:lnTo>
                      <a:pt x="792" y="950"/>
                    </a:lnTo>
                    <a:lnTo>
                      <a:pt x="789" y="948"/>
                    </a:lnTo>
                    <a:lnTo>
                      <a:pt x="787" y="948"/>
                    </a:lnTo>
                    <a:lnTo>
                      <a:pt x="784" y="948"/>
                    </a:lnTo>
                    <a:lnTo>
                      <a:pt x="785" y="950"/>
                    </a:lnTo>
                    <a:lnTo>
                      <a:pt x="784" y="947"/>
                    </a:lnTo>
                    <a:lnTo>
                      <a:pt x="782" y="947"/>
                    </a:lnTo>
                    <a:lnTo>
                      <a:pt x="780" y="952"/>
                    </a:lnTo>
                    <a:lnTo>
                      <a:pt x="779" y="956"/>
                    </a:lnTo>
                    <a:lnTo>
                      <a:pt x="779" y="958"/>
                    </a:lnTo>
                    <a:lnTo>
                      <a:pt x="779" y="960"/>
                    </a:lnTo>
                    <a:lnTo>
                      <a:pt x="779" y="963"/>
                    </a:lnTo>
                    <a:lnTo>
                      <a:pt x="782" y="965"/>
                    </a:lnTo>
                    <a:lnTo>
                      <a:pt x="785" y="963"/>
                    </a:lnTo>
                    <a:lnTo>
                      <a:pt x="787" y="963"/>
                    </a:lnTo>
                    <a:lnTo>
                      <a:pt x="784" y="965"/>
                    </a:lnTo>
                    <a:lnTo>
                      <a:pt x="785" y="965"/>
                    </a:lnTo>
                    <a:lnTo>
                      <a:pt x="782" y="966"/>
                    </a:lnTo>
                    <a:lnTo>
                      <a:pt x="784" y="970"/>
                    </a:lnTo>
                    <a:lnTo>
                      <a:pt x="785" y="970"/>
                    </a:lnTo>
                    <a:lnTo>
                      <a:pt x="784" y="970"/>
                    </a:lnTo>
                    <a:lnTo>
                      <a:pt x="785" y="973"/>
                    </a:lnTo>
                    <a:lnTo>
                      <a:pt x="785" y="975"/>
                    </a:lnTo>
                    <a:lnTo>
                      <a:pt x="784" y="978"/>
                    </a:lnTo>
                    <a:lnTo>
                      <a:pt x="785" y="980"/>
                    </a:lnTo>
                    <a:lnTo>
                      <a:pt x="790" y="980"/>
                    </a:lnTo>
                    <a:lnTo>
                      <a:pt x="792" y="978"/>
                    </a:lnTo>
                    <a:lnTo>
                      <a:pt x="792" y="981"/>
                    </a:lnTo>
                    <a:lnTo>
                      <a:pt x="790" y="983"/>
                    </a:lnTo>
                    <a:lnTo>
                      <a:pt x="795" y="981"/>
                    </a:lnTo>
                    <a:lnTo>
                      <a:pt x="795" y="980"/>
                    </a:lnTo>
                    <a:lnTo>
                      <a:pt x="795" y="981"/>
                    </a:lnTo>
                    <a:lnTo>
                      <a:pt x="800" y="981"/>
                    </a:lnTo>
                    <a:lnTo>
                      <a:pt x="803" y="981"/>
                    </a:lnTo>
                    <a:lnTo>
                      <a:pt x="803" y="980"/>
                    </a:lnTo>
                    <a:lnTo>
                      <a:pt x="802" y="980"/>
                    </a:lnTo>
                    <a:lnTo>
                      <a:pt x="803" y="980"/>
                    </a:lnTo>
                    <a:lnTo>
                      <a:pt x="802" y="980"/>
                    </a:lnTo>
                    <a:lnTo>
                      <a:pt x="802" y="978"/>
                    </a:lnTo>
                    <a:lnTo>
                      <a:pt x="803" y="976"/>
                    </a:lnTo>
                    <a:lnTo>
                      <a:pt x="803" y="978"/>
                    </a:lnTo>
                    <a:lnTo>
                      <a:pt x="803" y="980"/>
                    </a:lnTo>
                    <a:lnTo>
                      <a:pt x="805" y="980"/>
                    </a:lnTo>
                    <a:lnTo>
                      <a:pt x="807" y="981"/>
                    </a:lnTo>
                    <a:lnTo>
                      <a:pt x="810" y="981"/>
                    </a:lnTo>
                    <a:lnTo>
                      <a:pt x="812" y="978"/>
                    </a:lnTo>
                    <a:lnTo>
                      <a:pt x="813" y="971"/>
                    </a:lnTo>
                    <a:lnTo>
                      <a:pt x="818" y="968"/>
                    </a:lnTo>
                    <a:lnTo>
                      <a:pt x="820" y="968"/>
                    </a:lnTo>
                    <a:lnTo>
                      <a:pt x="820" y="966"/>
                    </a:lnTo>
                    <a:lnTo>
                      <a:pt x="820" y="965"/>
                    </a:lnTo>
                    <a:lnTo>
                      <a:pt x="820" y="966"/>
                    </a:lnTo>
                    <a:lnTo>
                      <a:pt x="820" y="968"/>
                    </a:lnTo>
                    <a:lnTo>
                      <a:pt x="815" y="971"/>
                    </a:lnTo>
                    <a:lnTo>
                      <a:pt x="812" y="978"/>
                    </a:lnTo>
                    <a:lnTo>
                      <a:pt x="815" y="980"/>
                    </a:lnTo>
                    <a:lnTo>
                      <a:pt x="812" y="980"/>
                    </a:lnTo>
                    <a:lnTo>
                      <a:pt x="810" y="984"/>
                    </a:lnTo>
                    <a:lnTo>
                      <a:pt x="813" y="984"/>
                    </a:lnTo>
                    <a:lnTo>
                      <a:pt x="813" y="986"/>
                    </a:lnTo>
                    <a:lnTo>
                      <a:pt x="812" y="984"/>
                    </a:lnTo>
                    <a:lnTo>
                      <a:pt x="810" y="986"/>
                    </a:lnTo>
                    <a:lnTo>
                      <a:pt x="810" y="984"/>
                    </a:lnTo>
                    <a:lnTo>
                      <a:pt x="808" y="983"/>
                    </a:lnTo>
                    <a:lnTo>
                      <a:pt x="807" y="984"/>
                    </a:lnTo>
                    <a:lnTo>
                      <a:pt x="805" y="983"/>
                    </a:lnTo>
                    <a:lnTo>
                      <a:pt x="802" y="983"/>
                    </a:lnTo>
                    <a:lnTo>
                      <a:pt x="805" y="983"/>
                    </a:lnTo>
                    <a:lnTo>
                      <a:pt x="807" y="988"/>
                    </a:lnTo>
                    <a:lnTo>
                      <a:pt x="807" y="989"/>
                    </a:lnTo>
                    <a:lnTo>
                      <a:pt x="805" y="993"/>
                    </a:lnTo>
                    <a:lnTo>
                      <a:pt x="805" y="994"/>
                    </a:lnTo>
                    <a:lnTo>
                      <a:pt x="808" y="996"/>
                    </a:lnTo>
                    <a:lnTo>
                      <a:pt x="807" y="1001"/>
                    </a:lnTo>
                    <a:lnTo>
                      <a:pt x="808" y="1004"/>
                    </a:lnTo>
                    <a:lnTo>
                      <a:pt x="810" y="1004"/>
                    </a:lnTo>
                    <a:lnTo>
                      <a:pt x="812" y="1007"/>
                    </a:lnTo>
                    <a:lnTo>
                      <a:pt x="820" y="1006"/>
                    </a:lnTo>
                    <a:lnTo>
                      <a:pt x="823" y="1007"/>
                    </a:lnTo>
                    <a:lnTo>
                      <a:pt x="825" y="1009"/>
                    </a:lnTo>
                    <a:lnTo>
                      <a:pt x="831" y="1009"/>
                    </a:lnTo>
                    <a:lnTo>
                      <a:pt x="830" y="1006"/>
                    </a:lnTo>
                    <a:lnTo>
                      <a:pt x="833" y="1003"/>
                    </a:lnTo>
                    <a:lnTo>
                      <a:pt x="833" y="999"/>
                    </a:lnTo>
                    <a:lnTo>
                      <a:pt x="830" y="994"/>
                    </a:lnTo>
                    <a:lnTo>
                      <a:pt x="831" y="994"/>
                    </a:lnTo>
                    <a:lnTo>
                      <a:pt x="831" y="989"/>
                    </a:lnTo>
                    <a:lnTo>
                      <a:pt x="831" y="996"/>
                    </a:lnTo>
                    <a:lnTo>
                      <a:pt x="833" y="999"/>
                    </a:lnTo>
                    <a:lnTo>
                      <a:pt x="835" y="996"/>
                    </a:lnTo>
                    <a:lnTo>
                      <a:pt x="838" y="993"/>
                    </a:lnTo>
                    <a:lnTo>
                      <a:pt x="836" y="994"/>
                    </a:lnTo>
                    <a:lnTo>
                      <a:pt x="838" y="994"/>
                    </a:lnTo>
                    <a:lnTo>
                      <a:pt x="843" y="993"/>
                    </a:lnTo>
                    <a:lnTo>
                      <a:pt x="835" y="999"/>
                    </a:lnTo>
                    <a:lnTo>
                      <a:pt x="833" y="1003"/>
                    </a:lnTo>
                    <a:lnTo>
                      <a:pt x="835" y="1003"/>
                    </a:lnTo>
                    <a:lnTo>
                      <a:pt x="831" y="1006"/>
                    </a:lnTo>
                    <a:lnTo>
                      <a:pt x="831" y="1007"/>
                    </a:lnTo>
                    <a:lnTo>
                      <a:pt x="835" y="1009"/>
                    </a:lnTo>
                    <a:lnTo>
                      <a:pt x="838" y="1007"/>
                    </a:lnTo>
                    <a:lnTo>
                      <a:pt x="835" y="1009"/>
                    </a:lnTo>
                    <a:lnTo>
                      <a:pt x="833" y="1009"/>
                    </a:lnTo>
                    <a:lnTo>
                      <a:pt x="831" y="1011"/>
                    </a:lnTo>
                    <a:lnTo>
                      <a:pt x="828" y="1009"/>
                    </a:lnTo>
                    <a:lnTo>
                      <a:pt x="825" y="1011"/>
                    </a:lnTo>
                    <a:lnTo>
                      <a:pt x="823" y="1014"/>
                    </a:lnTo>
                    <a:lnTo>
                      <a:pt x="826" y="1014"/>
                    </a:lnTo>
                    <a:lnTo>
                      <a:pt x="830" y="1017"/>
                    </a:lnTo>
                    <a:lnTo>
                      <a:pt x="831" y="1017"/>
                    </a:lnTo>
                    <a:lnTo>
                      <a:pt x="831" y="1019"/>
                    </a:lnTo>
                    <a:lnTo>
                      <a:pt x="838" y="1019"/>
                    </a:lnTo>
                    <a:lnTo>
                      <a:pt x="841" y="1017"/>
                    </a:lnTo>
                    <a:lnTo>
                      <a:pt x="843" y="1019"/>
                    </a:lnTo>
                    <a:lnTo>
                      <a:pt x="844" y="1014"/>
                    </a:lnTo>
                    <a:lnTo>
                      <a:pt x="848" y="1014"/>
                    </a:lnTo>
                    <a:lnTo>
                      <a:pt x="851" y="1012"/>
                    </a:lnTo>
                    <a:lnTo>
                      <a:pt x="858" y="1011"/>
                    </a:lnTo>
                    <a:lnTo>
                      <a:pt x="864" y="1012"/>
                    </a:lnTo>
                    <a:lnTo>
                      <a:pt x="871" y="1007"/>
                    </a:lnTo>
                    <a:lnTo>
                      <a:pt x="871" y="1001"/>
                    </a:lnTo>
                    <a:lnTo>
                      <a:pt x="872" y="998"/>
                    </a:lnTo>
                    <a:lnTo>
                      <a:pt x="874" y="996"/>
                    </a:lnTo>
                    <a:lnTo>
                      <a:pt x="872" y="1003"/>
                    </a:lnTo>
                    <a:lnTo>
                      <a:pt x="867" y="1012"/>
                    </a:lnTo>
                    <a:lnTo>
                      <a:pt x="869" y="1017"/>
                    </a:lnTo>
                    <a:lnTo>
                      <a:pt x="881" y="1019"/>
                    </a:lnTo>
                    <a:lnTo>
                      <a:pt x="882" y="1021"/>
                    </a:lnTo>
                    <a:lnTo>
                      <a:pt x="885" y="1022"/>
                    </a:lnTo>
                    <a:lnTo>
                      <a:pt x="887" y="1026"/>
                    </a:lnTo>
                    <a:lnTo>
                      <a:pt x="892" y="1024"/>
                    </a:lnTo>
                    <a:lnTo>
                      <a:pt x="894" y="1026"/>
                    </a:lnTo>
                    <a:lnTo>
                      <a:pt x="895" y="1026"/>
                    </a:lnTo>
                    <a:lnTo>
                      <a:pt x="895" y="1022"/>
                    </a:lnTo>
                    <a:lnTo>
                      <a:pt x="899" y="1021"/>
                    </a:lnTo>
                    <a:lnTo>
                      <a:pt x="897" y="1016"/>
                    </a:lnTo>
                    <a:lnTo>
                      <a:pt x="902" y="1012"/>
                    </a:lnTo>
                    <a:lnTo>
                      <a:pt x="900" y="1011"/>
                    </a:lnTo>
                    <a:lnTo>
                      <a:pt x="902" y="1012"/>
                    </a:lnTo>
                    <a:lnTo>
                      <a:pt x="905" y="1009"/>
                    </a:lnTo>
                    <a:lnTo>
                      <a:pt x="907" y="1011"/>
                    </a:lnTo>
                    <a:lnTo>
                      <a:pt x="905" y="1011"/>
                    </a:lnTo>
                    <a:lnTo>
                      <a:pt x="899" y="1017"/>
                    </a:lnTo>
                    <a:lnTo>
                      <a:pt x="899" y="1021"/>
                    </a:lnTo>
                    <a:lnTo>
                      <a:pt x="902" y="1021"/>
                    </a:lnTo>
                    <a:lnTo>
                      <a:pt x="897" y="1022"/>
                    </a:lnTo>
                    <a:lnTo>
                      <a:pt x="895" y="1027"/>
                    </a:lnTo>
                    <a:lnTo>
                      <a:pt x="892" y="1026"/>
                    </a:lnTo>
                    <a:lnTo>
                      <a:pt x="890" y="1029"/>
                    </a:lnTo>
                    <a:lnTo>
                      <a:pt x="890" y="1030"/>
                    </a:lnTo>
                    <a:lnTo>
                      <a:pt x="895" y="1034"/>
                    </a:lnTo>
                    <a:lnTo>
                      <a:pt x="895" y="1035"/>
                    </a:lnTo>
                    <a:lnTo>
                      <a:pt x="899" y="1035"/>
                    </a:lnTo>
                    <a:lnTo>
                      <a:pt x="900" y="1039"/>
                    </a:lnTo>
                    <a:lnTo>
                      <a:pt x="899" y="1045"/>
                    </a:lnTo>
                    <a:lnTo>
                      <a:pt x="899" y="1047"/>
                    </a:lnTo>
                    <a:lnTo>
                      <a:pt x="895" y="1047"/>
                    </a:lnTo>
                    <a:lnTo>
                      <a:pt x="895" y="1049"/>
                    </a:lnTo>
                    <a:lnTo>
                      <a:pt x="910" y="1057"/>
                    </a:lnTo>
                    <a:lnTo>
                      <a:pt x="912" y="1062"/>
                    </a:lnTo>
                    <a:lnTo>
                      <a:pt x="920" y="1062"/>
                    </a:lnTo>
                    <a:lnTo>
                      <a:pt x="923" y="1065"/>
                    </a:lnTo>
                    <a:lnTo>
                      <a:pt x="925" y="1065"/>
                    </a:lnTo>
                    <a:lnTo>
                      <a:pt x="925" y="1062"/>
                    </a:lnTo>
                    <a:lnTo>
                      <a:pt x="927" y="1062"/>
                    </a:lnTo>
                    <a:lnTo>
                      <a:pt x="927" y="1053"/>
                    </a:lnTo>
                    <a:lnTo>
                      <a:pt x="928" y="1055"/>
                    </a:lnTo>
                    <a:lnTo>
                      <a:pt x="931" y="1050"/>
                    </a:lnTo>
                    <a:lnTo>
                      <a:pt x="931" y="1049"/>
                    </a:lnTo>
                    <a:lnTo>
                      <a:pt x="930" y="1049"/>
                    </a:lnTo>
                    <a:lnTo>
                      <a:pt x="931" y="1049"/>
                    </a:lnTo>
                    <a:lnTo>
                      <a:pt x="928" y="1047"/>
                    </a:lnTo>
                    <a:lnTo>
                      <a:pt x="931" y="1047"/>
                    </a:lnTo>
                    <a:lnTo>
                      <a:pt x="935" y="1049"/>
                    </a:lnTo>
                    <a:lnTo>
                      <a:pt x="935" y="1044"/>
                    </a:lnTo>
                    <a:lnTo>
                      <a:pt x="931" y="1042"/>
                    </a:lnTo>
                    <a:lnTo>
                      <a:pt x="931" y="1040"/>
                    </a:lnTo>
                    <a:lnTo>
                      <a:pt x="925" y="1040"/>
                    </a:lnTo>
                    <a:lnTo>
                      <a:pt x="923" y="1040"/>
                    </a:lnTo>
                    <a:lnTo>
                      <a:pt x="928" y="1039"/>
                    </a:lnTo>
                    <a:lnTo>
                      <a:pt x="928" y="1037"/>
                    </a:lnTo>
                    <a:lnTo>
                      <a:pt x="925" y="1037"/>
                    </a:lnTo>
                    <a:lnTo>
                      <a:pt x="925" y="1034"/>
                    </a:lnTo>
                    <a:lnTo>
                      <a:pt x="930" y="1037"/>
                    </a:lnTo>
                    <a:lnTo>
                      <a:pt x="931" y="1035"/>
                    </a:lnTo>
                    <a:lnTo>
                      <a:pt x="930" y="1032"/>
                    </a:lnTo>
                    <a:lnTo>
                      <a:pt x="928" y="1032"/>
                    </a:lnTo>
                    <a:lnTo>
                      <a:pt x="928" y="1029"/>
                    </a:lnTo>
                    <a:lnTo>
                      <a:pt x="928" y="1027"/>
                    </a:lnTo>
                    <a:lnTo>
                      <a:pt x="928" y="1026"/>
                    </a:lnTo>
                    <a:lnTo>
                      <a:pt x="928" y="1027"/>
                    </a:lnTo>
                    <a:lnTo>
                      <a:pt x="931" y="1030"/>
                    </a:lnTo>
                    <a:lnTo>
                      <a:pt x="935" y="1024"/>
                    </a:lnTo>
                    <a:lnTo>
                      <a:pt x="933" y="1037"/>
                    </a:lnTo>
                    <a:lnTo>
                      <a:pt x="936" y="1037"/>
                    </a:lnTo>
                    <a:lnTo>
                      <a:pt x="935" y="1040"/>
                    </a:lnTo>
                    <a:lnTo>
                      <a:pt x="938" y="1037"/>
                    </a:lnTo>
                    <a:lnTo>
                      <a:pt x="948" y="1032"/>
                    </a:lnTo>
                    <a:lnTo>
                      <a:pt x="945" y="1035"/>
                    </a:lnTo>
                    <a:lnTo>
                      <a:pt x="940" y="1037"/>
                    </a:lnTo>
                    <a:lnTo>
                      <a:pt x="941" y="1039"/>
                    </a:lnTo>
                    <a:lnTo>
                      <a:pt x="938" y="1039"/>
                    </a:lnTo>
                    <a:lnTo>
                      <a:pt x="938" y="1042"/>
                    </a:lnTo>
                    <a:lnTo>
                      <a:pt x="935" y="1042"/>
                    </a:lnTo>
                    <a:lnTo>
                      <a:pt x="936" y="1045"/>
                    </a:lnTo>
                    <a:lnTo>
                      <a:pt x="935" y="1047"/>
                    </a:lnTo>
                    <a:lnTo>
                      <a:pt x="935" y="1049"/>
                    </a:lnTo>
                    <a:lnTo>
                      <a:pt x="938" y="1049"/>
                    </a:lnTo>
                    <a:lnTo>
                      <a:pt x="943" y="1047"/>
                    </a:lnTo>
                    <a:lnTo>
                      <a:pt x="941" y="1049"/>
                    </a:lnTo>
                    <a:lnTo>
                      <a:pt x="946" y="1050"/>
                    </a:lnTo>
                    <a:lnTo>
                      <a:pt x="940" y="1049"/>
                    </a:lnTo>
                    <a:lnTo>
                      <a:pt x="933" y="1050"/>
                    </a:lnTo>
                    <a:lnTo>
                      <a:pt x="930" y="1057"/>
                    </a:lnTo>
                    <a:lnTo>
                      <a:pt x="941" y="1062"/>
                    </a:lnTo>
                    <a:lnTo>
                      <a:pt x="943" y="1067"/>
                    </a:lnTo>
                    <a:lnTo>
                      <a:pt x="946" y="1067"/>
                    </a:lnTo>
                    <a:lnTo>
                      <a:pt x="948" y="1070"/>
                    </a:lnTo>
                    <a:lnTo>
                      <a:pt x="950" y="1067"/>
                    </a:lnTo>
                    <a:lnTo>
                      <a:pt x="951" y="1068"/>
                    </a:lnTo>
                    <a:lnTo>
                      <a:pt x="953" y="1065"/>
                    </a:lnTo>
                    <a:lnTo>
                      <a:pt x="961" y="1058"/>
                    </a:lnTo>
                    <a:lnTo>
                      <a:pt x="969" y="1060"/>
                    </a:lnTo>
                    <a:lnTo>
                      <a:pt x="971" y="1060"/>
                    </a:lnTo>
                    <a:lnTo>
                      <a:pt x="973" y="1058"/>
                    </a:lnTo>
                    <a:lnTo>
                      <a:pt x="976" y="1058"/>
                    </a:lnTo>
                    <a:lnTo>
                      <a:pt x="971" y="1055"/>
                    </a:lnTo>
                    <a:lnTo>
                      <a:pt x="969" y="1050"/>
                    </a:lnTo>
                    <a:lnTo>
                      <a:pt x="974" y="1026"/>
                    </a:lnTo>
                    <a:lnTo>
                      <a:pt x="977" y="1016"/>
                    </a:lnTo>
                    <a:lnTo>
                      <a:pt x="986" y="1006"/>
                    </a:lnTo>
                    <a:lnTo>
                      <a:pt x="991" y="1004"/>
                    </a:lnTo>
                    <a:lnTo>
                      <a:pt x="994" y="1001"/>
                    </a:lnTo>
                    <a:lnTo>
                      <a:pt x="997" y="1001"/>
                    </a:lnTo>
                    <a:lnTo>
                      <a:pt x="1000" y="1001"/>
                    </a:lnTo>
                    <a:lnTo>
                      <a:pt x="999" y="999"/>
                    </a:lnTo>
                    <a:lnTo>
                      <a:pt x="1002" y="996"/>
                    </a:lnTo>
                    <a:lnTo>
                      <a:pt x="1002" y="993"/>
                    </a:lnTo>
                    <a:lnTo>
                      <a:pt x="999" y="991"/>
                    </a:lnTo>
                    <a:lnTo>
                      <a:pt x="997" y="983"/>
                    </a:lnTo>
                    <a:lnTo>
                      <a:pt x="994" y="983"/>
                    </a:lnTo>
                    <a:lnTo>
                      <a:pt x="989" y="984"/>
                    </a:lnTo>
                    <a:lnTo>
                      <a:pt x="994" y="981"/>
                    </a:lnTo>
                    <a:lnTo>
                      <a:pt x="996" y="981"/>
                    </a:lnTo>
                    <a:lnTo>
                      <a:pt x="997" y="976"/>
                    </a:lnTo>
                    <a:lnTo>
                      <a:pt x="992" y="971"/>
                    </a:lnTo>
                    <a:lnTo>
                      <a:pt x="991" y="970"/>
                    </a:lnTo>
                    <a:lnTo>
                      <a:pt x="992" y="966"/>
                    </a:lnTo>
                    <a:lnTo>
                      <a:pt x="991" y="965"/>
                    </a:lnTo>
                    <a:lnTo>
                      <a:pt x="987" y="968"/>
                    </a:lnTo>
                    <a:lnTo>
                      <a:pt x="986" y="970"/>
                    </a:lnTo>
                    <a:lnTo>
                      <a:pt x="987" y="966"/>
                    </a:lnTo>
                    <a:lnTo>
                      <a:pt x="981" y="965"/>
                    </a:lnTo>
                    <a:lnTo>
                      <a:pt x="977" y="961"/>
                    </a:lnTo>
                    <a:lnTo>
                      <a:pt x="974" y="961"/>
                    </a:lnTo>
                    <a:lnTo>
                      <a:pt x="977" y="958"/>
                    </a:lnTo>
                    <a:lnTo>
                      <a:pt x="973" y="958"/>
                    </a:lnTo>
                    <a:lnTo>
                      <a:pt x="973" y="956"/>
                    </a:lnTo>
                    <a:lnTo>
                      <a:pt x="974" y="955"/>
                    </a:lnTo>
                    <a:lnTo>
                      <a:pt x="969" y="955"/>
                    </a:lnTo>
                    <a:lnTo>
                      <a:pt x="974" y="953"/>
                    </a:lnTo>
                    <a:lnTo>
                      <a:pt x="976" y="955"/>
                    </a:lnTo>
                    <a:lnTo>
                      <a:pt x="974" y="956"/>
                    </a:lnTo>
                    <a:lnTo>
                      <a:pt x="973" y="956"/>
                    </a:lnTo>
                    <a:lnTo>
                      <a:pt x="974" y="956"/>
                    </a:lnTo>
                    <a:lnTo>
                      <a:pt x="977" y="955"/>
                    </a:lnTo>
                    <a:lnTo>
                      <a:pt x="979" y="958"/>
                    </a:lnTo>
                    <a:lnTo>
                      <a:pt x="979" y="960"/>
                    </a:lnTo>
                    <a:lnTo>
                      <a:pt x="982" y="961"/>
                    </a:lnTo>
                    <a:lnTo>
                      <a:pt x="982" y="960"/>
                    </a:lnTo>
                    <a:lnTo>
                      <a:pt x="986" y="965"/>
                    </a:lnTo>
                    <a:lnTo>
                      <a:pt x="989" y="963"/>
                    </a:lnTo>
                    <a:lnTo>
                      <a:pt x="997" y="965"/>
                    </a:lnTo>
                    <a:lnTo>
                      <a:pt x="997" y="966"/>
                    </a:lnTo>
                    <a:lnTo>
                      <a:pt x="992" y="970"/>
                    </a:lnTo>
                    <a:lnTo>
                      <a:pt x="997" y="973"/>
                    </a:lnTo>
                    <a:lnTo>
                      <a:pt x="999" y="978"/>
                    </a:lnTo>
                    <a:lnTo>
                      <a:pt x="1000" y="978"/>
                    </a:lnTo>
                    <a:lnTo>
                      <a:pt x="997" y="978"/>
                    </a:lnTo>
                    <a:lnTo>
                      <a:pt x="999" y="981"/>
                    </a:lnTo>
                    <a:lnTo>
                      <a:pt x="1000" y="988"/>
                    </a:lnTo>
                    <a:lnTo>
                      <a:pt x="1002" y="986"/>
                    </a:lnTo>
                    <a:lnTo>
                      <a:pt x="999" y="989"/>
                    </a:lnTo>
                    <a:lnTo>
                      <a:pt x="1004" y="993"/>
                    </a:lnTo>
                    <a:lnTo>
                      <a:pt x="1005" y="993"/>
                    </a:lnTo>
                    <a:lnTo>
                      <a:pt x="1010" y="996"/>
                    </a:lnTo>
                    <a:lnTo>
                      <a:pt x="1014" y="994"/>
                    </a:lnTo>
                    <a:lnTo>
                      <a:pt x="1014" y="991"/>
                    </a:lnTo>
                    <a:lnTo>
                      <a:pt x="1019" y="989"/>
                    </a:lnTo>
                    <a:lnTo>
                      <a:pt x="1020" y="986"/>
                    </a:lnTo>
                    <a:lnTo>
                      <a:pt x="1017" y="983"/>
                    </a:lnTo>
                    <a:lnTo>
                      <a:pt x="1020" y="978"/>
                    </a:lnTo>
                    <a:lnTo>
                      <a:pt x="1020" y="976"/>
                    </a:lnTo>
                    <a:lnTo>
                      <a:pt x="1022" y="971"/>
                    </a:lnTo>
                    <a:lnTo>
                      <a:pt x="1027" y="971"/>
                    </a:lnTo>
                    <a:lnTo>
                      <a:pt x="1023" y="970"/>
                    </a:lnTo>
                    <a:lnTo>
                      <a:pt x="1025" y="966"/>
                    </a:lnTo>
                    <a:lnTo>
                      <a:pt x="1027" y="965"/>
                    </a:lnTo>
                    <a:lnTo>
                      <a:pt x="1030" y="961"/>
                    </a:lnTo>
                    <a:lnTo>
                      <a:pt x="1032" y="961"/>
                    </a:lnTo>
                    <a:lnTo>
                      <a:pt x="1028" y="960"/>
                    </a:lnTo>
                    <a:lnTo>
                      <a:pt x="1023" y="960"/>
                    </a:lnTo>
                    <a:lnTo>
                      <a:pt x="1020" y="958"/>
                    </a:lnTo>
                    <a:lnTo>
                      <a:pt x="1023" y="960"/>
                    </a:lnTo>
                    <a:lnTo>
                      <a:pt x="1022" y="961"/>
                    </a:lnTo>
                    <a:lnTo>
                      <a:pt x="1020" y="961"/>
                    </a:lnTo>
                    <a:lnTo>
                      <a:pt x="1019" y="958"/>
                    </a:lnTo>
                    <a:lnTo>
                      <a:pt x="1017" y="960"/>
                    </a:lnTo>
                    <a:lnTo>
                      <a:pt x="1014" y="958"/>
                    </a:lnTo>
                    <a:lnTo>
                      <a:pt x="1009" y="960"/>
                    </a:lnTo>
                    <a:lnTo>
                      <a:pt x="1009" y="958"/>
                    </a:lnTo>
                    <a:lnTo>
                      <a:pt x="1005" y="956"/>
                    </a:lnTo>
                    <a:lnTo>
                      <a:pt x="1005" y="953"/>
                    </a:lnTo>
                    <a:lnTo>
                      <a:pt x="1005" y="952"/>
                    </a:lnTo>
                    <a:lnTo>
                      <a:pt x="1004" y="948"/>
                    </a:lnTo>
                    <a:lnTo>
                      <a:pt x="1004" y="945"/>
                    </a:lnTo>
                    <a:lnTo>
                      <a:pt x="1007" y="945"/>
                    </a:lnTo>
                    <a:lnTo>
                      <a:pt x="1004" y="940"/>
                    </a:lnTo>
                    <a:lnTo>
                      <a:pt x="1005" y="938"/>
                    </a:lnTo>
                    <a:lnTo>
                      <a:pt x="1005" y="937"/>
                    </a:lnTo>
                    <a:lnTo>
                      <a:pt x="1005" y="935"/>
                    </a:lnTo>
                    <a:lnTo>
                      <a:pt x="1007" y="933"/>
                    </a:lnTo>
                    <a:lnTo>
                      <a:pt x="1009" y="932"/>
                    </a:lnTo>
                    <a:lnTo>
                      <a:pt x="1010" y="929"/>
                    </a:lnTo>
                    <a:lnTo>
                      <a:pt x="1010" y="927"/>
                    </a:lnTo>
                    <a:lnTo>
                      <a:pt x="1014" y="925"/>
                    </a:lnTo>
                    <a:lnTo>
                      <a:pt x="1015" y="929"/>
                    </a:lnTo>
                    <a:lnTo>
                      <a:pt x="1014" y="927"/>
                    </a:lnTo>
                    <a:lnTo>
                      <a:pt x="1017" y="927"/>
                    </a:lnTo>
                    <a:lnTo>
                      <a:pt x="1015" y="929"/>
                    </a:lnTo>
                    <a:lnTo>
                      <a:pt x="1017" y="929"/>
                    </a:lnTo>
                    <a:lnTo>
                      <a:pt x="1019" y="930"/>
                    </a:lnTo>
                    <a:lnTo>
                      <a:pt x="1022" y="929"/>
                    </a:lnTo>
                    <a:lnTo>
                      <a:pt x="1025" y="927"/>
                    </a:lnTo>
                    <a:lnTo>
                      <a:pt x="1028" y="929"/>
                    </a:lnTo>
                    <a:lnTo>
                      <a:pt x="1032" y="925"/>
                    </a:lnTo>
                    <a:lnTo>
                      <a:pt x="1028" y="925"/>
                    </a:lnTo>
                    <a:lnTo>
                      <a:pt x="1028" y="922"/>
                    </a:lnTo>
                    <a:lnTo>
                      <a:pt x="1025" y="920"/>
                    </a:lnTo>
                    <a:lnTo>
                      <a:pt x="1027" y="919"/>
                    </a:lnTo>
                    <a:lnTo>
                      <a:pt x="1025" y="919"/>
                    </a:lnTo>
                    <a:lnTo>
                      <a:pt x="1020" y="915"/>
                    </a:lnTo>
                    <a:lnTo>
                      <a:pt x="1022" y="896"/>
                    </a:lnTo>
                    <a:lnTo>
                      <a:pt x="1027" y="884"/>
                    </a:lnTo>
                    <a:lnTo>
                      <a:pt x="1025" y="884"/>
                    </a:lnTo>
                    <a:lnTo>
                      <a:pt x="1022" y="881"/>
                    </a:lnTo>
                    <a:lnTo>
                      <a:pt x="1019" y="882"/>
                    </a:lnTo>
                    <a:lnTo>
                      <a:pt x="1012" y="882"/>
                    </a:lnTo>
                    <a:lnTo>
                      <a:pt x="1010" y="884"/>
                    </a:lnTo>
                    <a:lnTo>
                      <a:pt x="1007" y="882"/>
                    </a:lnTo>
                    <a:lnTo>
                      <a:pt x="996" y="886"/>
                    </a:lnTo>
                    <a:lnTo>
                      <a:pt x="994" y="886"/>
                    </a:lnTo>
                    <a:lnTo>
                      <a:pt x="991" y="887"/>
                    </a:lnTo>
                    <a:lnTo>
                      <a:pt x="994" y="886"/>
                    </a:lnTo>
                    <a:lnTo>
                      <a:pt x="997" y="884"/>
                    </a:lnTo>
                    <a:lnTo>
                      <a:pt x="996" y="884"/>
                    </a:lnTo>
                    <a:lnTo>
                      <a:pt x="994" y="884"/>
                    </a:lnTo>
                    <a:lnTo>
                      <a:pt x="997" y="884"/>
                    </a:lnTo>
                    <a:lnTo>
                      <a:pt x="997" y="882"/>
                    </a:lnTo>
                    <a:lnTo>
                      <a:pt x="1002" y="881"/>
                    </a:lnTo>
                    <a:lnTo>
                      <a:pt x="1004" y="881"/>
                    </a:lnTo>
                    <a:lnTo>
                      <a:pt x="1019" y="879"/>
                    </a:lnTo>
                    <a:lnTo>
                      <a:pt x="1022" y="879"/>
                    </a:lnTo>
                    <a:lnTo>
                      <a:pt x="1025" y="881"/>
                    </a:lnTo>
                    <a:lnTo>
                      <a:pt x="1025" y="882"/>
                    </a:lnTo>
                    <a:lnTo>
                      <a:pt x="1028" y="878"/>
                    </a:lnTo>
                    <a:lnTo>
                      <a:pt x="1032" y="874"/>
                    </a:lnTo>
                    <a:lnTo>
                      <a:pt x="1037" y="871"/>
                    </a:lnTo>
                    <a:lnTo>
                      <a:pt x="1037" y="863"/>
                    </a:lnTo>
                    <a:lnTo>
                      <a:pt x="1038" y="859"/>
                    </a:lnTo>
                    <a:lnTo>
                      <a:pt x="1043" y="855"/>
                    </a:lnTo>
                    <a:lnTo>
                      <a:pt x="1051" y="845"/>
                    </a:lnTo>
                    <a:lnTo>
                      <a:pt x="1050" y="843"/>
                    </a:lnTo>
                    <a:lnTo>
                      <a:pt x="1050" y="846"/>
                    </a:lnTo>
                    <a:lnTo>
                      <a:pt x="1045" y="850"/>
                    </a:lnTo>
                    <a:lnTo>
                      <a:pt x="1043" y="841"/>
                    </a:lnTo>
                    <a:lnTo>
                      <a:pt x="1043" y="836"/>
                    </a:lnTo>
                    <a:lnTo>
                      <a:pt x="1042" y="827"/>
                    </a:lnTo>
                    <a:close/>
                    <a:moveTo>
                      <a:pt x="1165" y="437"/>
                    </a:moveTo>
                    <a:lnTo>
                      <a:pt x="1161" y="437"/>
                    </a:lnTo>
                    <a:lnTo>
                      <a:pt x="1161" y="439"/>
                    </a:lnTo>
                    <a:lnTo>
                      <a:pt x="1165" y="437"/>
                    </a:lnTo>
                    <a:close/>
                    <a:moveTo>
                      <a:pt x="1194" y="496"/>
                    </a:moveTo>
                    <a:lnTo>
                      <a:pt x="1194" y="498"/>
                    </a:lnTo>
                    <a:lnTo>
                      <a:pt x="1194" y="496"/>
                    </a:lnTo>
                    <a:close/>
                    <a:moveTo>
                      <a:pt x="1194" y="499"/>
                    </a:moveTo>
                    <a:lnTo>
                      <a:pt x="1196" y="499"/>
                    </a:lnTo>
                    <a:lnTo>
                      <a:pt x="1196" y="503"/>
                    </a:lnTo>
                    <a:lnTo>
                      <a:pt x="1194" y="503"/>
                    </a:lnTo>
                    <a:lnTo>
                      <a:pt x="1194" y="499"/>
                    </a:lnTo>
                    <a:close/>
                    <a:moveTo>
                      <a:pt x="616" y="537"/>
                    </a:moveTo>
                    <a:lnTo>
                      <a:pt x="621" y="537"/>
                    </a:lnTo>
                    <a:lnTo>
                      <a:pt x="618" y="534"/>
                    </a:lnTo>
                    <a:lnTo>
                      <a:pt x="618" y="524"/>
                    </a:lnTo>
                    <a:lnTo>
                      <a:pt x="614" y="519"/>
                    </a:lnTo>
                    <a:lnTo>
                      <a:pt x="614" y="516"/>
                    </a:lnTo>
                    <a:lnTo>
                      <a:pt x="611" y="514"/>
                    </a:lnTo>
                    <a:lnTo>
                      <a:pt x="611" y="519"/>
                    </a:lnTo>
                    <a:lnTo>
                      <a:pt x="613" y="521"/>
                    </a:lnTo>
                    <a:lnTo>
                      <a:pt x="611" y="522"/>
                    </a:lnTo>
                    <a:lnTo>
                      <a:pt x="613" y="524"/>
                    </a:lnTo>
                    <a:lnTo>
                      <a:pt x="611" y="524"/>
                    </a:lnTo>
                    <a:lnTo>
                      <a:pt x="613" y="527"/>
                    </a:lnTo>
                    <a:lnTo>
                      <a:pt x="611" y="531"/>
                    </a:lnTo>
                    <a:lnTo>
                      <a:pt x="614" y="539"/>
                    </a:lnTo>
                    <a:lnTo>
                      <a:pt x="616" y="537"/>
                    </a:lnTo>
                    <a:close/>
                    <a:moveTo>
                      <a:pt x="601" y="799"/>
                    </a:moveTo>
                    <a:lnTo>
                      <a:pt x="603" y="799"/>
                    </a:lnTo>
                    <a:lnTo>
                      <a:pt x="601" y="799"/>
                    </a:lnTo>
                    <a:close/>
                    <a:moveTo>
                      <a:pt x="593" y="804"/>
                    </a:moveTo>
                    <a:lnTo>
                      <a:pt x="595" y="804"/>
                    </a:lnTo>
                    <a:lnTo>
                      <a:pt x="593" y="804"/>
                    </a:lnTo>
                    <a:close/>
                    <a:moveTo>
                      <a:pt x="527" y="851"/>
                    </a:moveTo>
                    <a:lnTo>
                      <a:pt x="529" y="851"/>
                    </a:lnTo>
                    <a:lnTo>
                      <a:pt x="527" y="851"/>
                    </a:lnTo>
                    <a:close/>
                    <a:moveTo>
                      <a:pt x="516" y="855"/>
                    </a:moveTo>
                    <a:lnTo>
                      <a:pt x="517" y="855"/>
                    </a:lnTo>
                    <a:lnTo>
                      <a:pt x="516" y="855"/>
                    </a:lnTo>
                    <a:close/>
                    <a:moveTo>
                      <a:pt x="550" y="889"/>
                    </a:moveTo>
                    <a:lnTo>
                      <a:pt x="552" y="889"/>
                    </a:lnTo>
                    <a:lnTo>
                      <a:pt x="552" y="891"/>
                    </a:lnTo>
                    <a:lnTo>
                      <a:pt x="550" y="891"/>
                    </a:lnTo>
                    <a:lnTo>
                      <a:pt x="550" y="889"/>
                    </a:lnTo>
                    <a:close/>
                    <a:moveTo>
                      <a:pt x="488" y="891"/>
                    </a:moveTo>
                    <a:lnTo>
                      <a:pt x="489" y="891"/>
                    </a:lnTo>
                    <a:lnTo>
                      <a:pt x="488" y="891"/>
                    </a:lnTo>
                    <a:close/>
                    <a:moveTo>
                      <a:pt x="795" y="984"/>
                    </a:moveTo>
                    <a:lnTo>
                      <a:pt x="797" y="984"/>
                    </a:lnTo>
                    <a:lnTo>
                      <a:pt x="797" y="986"/>
                    </a:lnTo>
                    <a:lnTo>
                      <a:pt x="795" y="986"/>
                    </a:lnTo>
                    <a:lnTo>
                      <a:pt x="795" y="984"/>
                    </a:lnTo>
                    <a:close/>
                    <a:moveTo>
                      <a:pt x="693" y="996"/>
                    </a:moveTo>
                    <a:lnTo>
                      <a:pt x="692" y="994"/>
                    </a:lnTo>
                    <a:lnTo>
                      <a:pt x="692" y="996"/>
                    </a:lnTo>
                    <a:lnTo>
                      <a:pt x="693" y="996"/>
                    </a:lnTo>
                    <a:close/>
                    <a:moveTo>
                      <a:pt x="802" y="998"/>
                    </a:moveTo>
                    <a:lnTo>
                      <a:pt x="795" y="998"/>
                    </a:lnTo>
                    <a:lnTo>
                      <a:pt x="800" y="998"/>
                    </a:lnTo>
                    <a:lnTo>
                      <a:pt x="802" y="998"/>
                    </a:lnTo>
                    <a:close/>
                    <a:moveTo>
                      <a:pt x="812" y="1011"/>
                    </a:moveTo>
                    <a:lnTo>
                      <a:pt x="813" y="1011"/>
                    </a:lnTo>
                    <a:lnTo>
                      <a:pt x="813" y="1012"/>
                    </a:lnTo>
                    <a:lnTo>
                      <a:pt x="812" y="1012"/>
                    </a:lnTo>
                    <a:lnTo>
                      <a:pt x="812" y="1011"/>
                    </a:lnTo>
                    <a:close/>
                    <a:moveTo>
                      <a:pt x="885" y="1027"/>
                    </a:moveTo>
                    <a:lnTo>
                      <a:pt x="885" y="1026"/>
                    </a:lnTo>
                    <a:lnTo>
                      <a:pt x="884" y="1027"/>
                    </a:lnTo>
                    <a:lnTo>
                      <a:pt x="885" y="1027"/>
                    </a:lnTo>
                    <a:close/>
                    <a:moveTo>
                      <a:pt x="304" y="1063"/>
                    </a:moveTo>
                    <a:lnTo>
                      <a:pt x="305" y="1063"/>
                    </a:lnTo>
                    <a:lnTo>
                      <a:pt x="304" y="1063"/>
                    </a:lnTo>
                    <a:close/>
                    <a:moveTo>
                      <a:pt x="245" y="1113"/>
                    </a:moveTo>
                    <a:lnTo>
                      <a:pt x="245" y="1114"/>
                    </a:lnTo>
                    <a:lnTo>
                      <a:pt x="245" y="1113"/>
                    </a:lnTo>
                    <a:close/>
                    <a:moveTo>
                      <a:pt x="330" y="1114"/>
                    </a:moveTo>
                    <a:lnTo>
                      <a:pt x="332" y="1114"/>
                    </a:lnTo>
                    <a:lnTo>
                      <a:pt x="332" y="1118"/>
                    </a:lnTo>
                    <a:lnTo>
                      <a:pt x="330" y="1118"/>
                    </a:lnTo>
                    <a:lnTo>
                      <a:pt x="330" y="1114"/>
                    </a:lnTo>
                    <a:close/>
                    <a:moveTo>
                      <a:pt x="236" y="1144"/>
                    </a:moveTo>
                    <a:lnTo>
                      <a:pt x="238" y="1144"/>
                    </a:lnTo>
                    <a:lnTo>
                      <a:pt x="236" y="1144"/>
                    </a:lnTo>
                    <a:close/>
                    <a:moveTo>
                      <a:pt x="238" y="1144"/>
                    </a:moveTo>
                    <a:lnTo>
                      <a:pt x="238" y="1146"/>
                    </a:lnTo>
                    <a:lnTo>
                      <a:pt x="238" y="1144"/>
                    </a:lnTo>
                    <a:close/>
                    <a:moveTo>
                      <a:pt x="404" y="1174"/>
                    </a:moveTo>
                    <a:lnTo>
                      <a:pt x="406" y="1174"/>
                    </a:lnTo>
                    <a:lnTo>
                      <a:pt x="404" y="1174"/>
                    </a:lnTo>
                    <a:close/>
                    <a:moveTo>
                      <a:pt x="56" y="1200"/>
                    </a:moveTo>
                    <a:lnTo>
                      <a:pt x="54" y="1198"/>
                    </a:lnTo>
                    <a:lnTo>
                      <a:pt x="52" y="1200"/>
                    </a:lnTo>
                    <a:lnTo>
                      <a:pt x="51" y="1198"/>
                    </a:lnTo>
                    <a:lnTo>
                      <a:pt x="49" y="1200"/>
                    </a:lnTo>
                    <a:lnTo>
                      <a:pt x="46" y="1198"/>
                    </a:lnTo>
                    <a:lnTo>
                      <a:pt x="44" y="1195"/>
                    </a:lnTo>
                    <a:lnTo>
                      <a:pt x="46" y="1193"/>
                    </a:lnTo>
                    <a:lnTo>
                      <a:pt x="46" y="1192"/>
                    </a:lnTo>
                    <a:lnTo>
                      <a:pt x="44" y="1190"/>
                    </a:lnTo>
                    <a:lnTo>
                      <a:pt x="44" y="1192"/>
                    </a:lnTo>
                    <a:lnTo>
                      <a:pt x="46" y="1193"/>
                    </a:lnTo>
                    <a:lnTo>
                      <a:pt x="43" y="1195"/>
                    </a:lnTo>
                    <a:lnTo>
                      <a:pt x="43" y="1197"/>
                    </a:lnTo>
                    <a:lnTo>
                      <a:pt x="41" y="1197"/>
                    </a:lnTo>
                    <a:lnTo>
                      <a:pt x="41" y="1200"/>
                    </a:lnTo>
                    <a:lnTo>
                      <a:pt x="46" y="1201"/>
                    </a:lnTo>
                    <a:lnTo>
                      <a:pt x="48" y="1205"/>
                    </a:lnTo>
                    <a:lnTo>
                      <a:pt x="56" y="1200"/>
                    </a:lnTo>
                    <a:close/>
                    <a:moveTo>
                      <a:pt x="34" y="1195"/>
                    </a:moveTo>
                    <a:lnTo>
                      <a:pt x="33" y="1193"/>
                    </a:lnTo>
                    <a:lnTo>
                      <a:pt x="31" y="1195"/>
                    </a:lnTo>
                    <a:lnTo>
                      <a:pt x="33" y="1197"/>
                    </a:lnTo>
                    <a:lnTo>
                      <a:pt x="34" y="1195"/>
                    </a:lnTo>
                    <a:close/>
                    <a:moveTo>
                      <a:pt x="39" y="1197"/>
                    </a:moveTo>
                    <a:lnTo>
                      <a:pt x="36" y="1197"/>
                    </a:lnTo>
                    <a:lnTo>
                      <a:pt x="36" y="1198"/>
                    </a:lnTo>
                    <a:lnTo>
                      <a:pt x="39" y="1198"/>
                    </a:lnTo>
                    <a:lnTo>
                      <a:pt x="39" y="1197"/>
                    </a:lnTo>
                    <a:close/>
                    <a:moveTo>
                      <a:pt x="33" y="1211"/>
                    </a:moveTo>
                    <a:lnTo>
                      <a:pt x="36" y="1210"/>
                    </a:lnTo>
                    <a:lnTo>
                      <a:pt x="34" y="1210"/>
                    </a:lnTo>
                    <a:lnTo>
                      <a:pt x="36" y="1205"/>
                    </a:lnTo>
                    <a:lnTo>
                      <a:pt x="33" y="1203"/>
                    </a:lnTo>
                    <a:lnTo>
                      <a:pt x="31" y="1203"/>
                    </a:lnTo>
                    <a:lnTo>
                      <a:pt x="29" y="1200"/>
                    </a:lnTo>
                    <a:lnTo>
                      <a:pt x="28" y="1200"/>
                    </a:lnTo>
                    <a:lnTo>
                      <a:pt x="28" y="1198"/>
                    </a:lnTo>
                    <a:lnTo>
                      <a:pt x="25" y="1200"/>
                    </a:lnTo>
                    <a:lnTo>
                      <a:pt x="28" y="1205"/>
                    </a:lnTo>
                    <a:lnTo>
                      <a:pt x="31" y="1213"/>
                    </a:lnTo>
                    <a:lnTo>
                      <a:pt x="33" y="1211"/>
                    </a:lnTo>
                    <a:close/>
                    <a:moveTo>
                      <a:pt x="31" y="1198"/>
                    </a:moveTo>
                    <a:lnTo>
                      <a:pt x="31" y="1200"/>
                    </a:lnTo>
                    <a:lnTo>
                      <a:pt x="31" y="1198"/>
                    </a:lnTo>
                    <a:close/>
                    <a:moveTo>
                      <a:pt x="25" y="1203"/>
                    </a:moveTo>
                    <a:lnTo>
                      <a:pt x="21" y="1200"/>
                    </a:lnTo>
                    <a:lnTo>
                      <a:pt x="21" y="1198"/>
                    </a:lnTo>
                    <a:lnTo>
                      <a:pt x="20" y="1200"/>
                    </a:lnTo>
                    <a:lnTo>
                      <a:pt x="23" y="1201"/>
                    </a:lnTo>
                    <a:lnTo>
                      <a:pt x="21" y="1203"/>
                    </a:lnTo>
                    <a:lnTo>
                      <a:pt x="21" y="1205"/>
                    </a:lnTo>
                    <a:lnTo>
                      <a:pt x="20" y="1205"/>
                    </a:lnTo>
                    <a:lnTo>
                      <a:pt x="20" y="1206"/>
                    </a:lnTo>
                    <a:lnTo>
                      <a:pt x="23" y="1208"/>
                    </a:lnTo>
                    <a:lnTo>
                      <a:pt x="20" y="1210"/>
                    </a:lnTo>
                    <a:lnTo>
                      <a:pt x="25" y="1210"/>
                    </a:lnTo>
                    <a:lnTo>
                      <a:pt x="25" y="1203"/>
                    </a:lnTo>
                    <a:close/>
                    <a:moveTo>
                      <a:pt x="33" y="1200"/>
                    </a:moveTo>
                    <a:lnTo>
                      <a:pt x="34" y="1200"/>
                    </a:lnTo>
                    <a:lnTo>
                      <a:pt x="33" y="1200"/>
                    </a:lnTo>
                    <a:close/>
                    <a:moveTo>
                      <a:pt x="57" y="1203"/>
                    </a:moveTo>
                    <a:lnTo>
                      <a:pt x="57" y="1205"/>
                    </a:lnTo>
                    <a:lnTo>
                      <a:pt x="57" y="1203"/>
                    </a:lnTo>
                    <a:close/>
                    <a:moveTo>
                      <a:pt x="43" y="1203"/>
                    </a:moveTo>
                    <a:lnTo>
                      <a:pt x="43" y="1205"/>
                    </a:lnTo>
                    <a:lnTo>
                      <a:pt x="43" y="1203"/>
                    </a:lnTo>
                    <a:close/>
                    <a:moveTo>
                      <a:pt x="59" y="1208"/>
                    </a:moveTo>
                    <a:lnTo>
                      <a:pt x="56" y="1205"/>
                    </a:lnTo>
                    <a:lnTo>
                      <a:pt x="59" y="1208"/>
                    </a:lnTo>
                    <a:close/>
                    <a:moveTo>
                      <a:pt x="16" y="1205"/>
                    </a:moveTo>
                    <a:lnTo>
                      <a:pt x="18" y="1205"/>
                    </a:lnTo>
                    <a:lnTo>
                      <a:pt x="18" y="1206"/>
                    </a:lnTo>
                    <a:lnTo>
                      <a:pt x="16" y="1206"/>
                    </a:lnTo>
                    <a:lnTo>
                      <a:pt x="16" y="1205"/>
                    </a:lnTo>
                    <a:close/>
                    <a:moveTo>
                      <a:pt x="61" y="1206"/>
                    </a:moveTo>
                    <a:lnTo>
                      <a:pt x="61" y="1208"/>
                    </a:lnTo>
                    <a:lnTo>
                      <a:pt x="61" y="1206"/>
                    </a:lnTo>
                    <a:close/>
                    <a:moveTo>
                      <a:pt x="43" y="1206"/>
                    </a:moveTo>
                    <a:lnTo>
                      <a:pt x="44" y="1206"/>
                    </a:lnTo>
                    <a:lnTo>
                      <a:pt x="44" y="1208"/>
                    </a:lnTo>
                    <a:lnTo>
                      <a:pt x="43" y="1208"/>
                    </a:lnTo>
                    <a:lnTo>
                      <a:pt x="43" y="1206"/>
                    </a:lnTo>
                    <a:close/>
                    <a:moveTo>
                      <a:pt x="52" y="1208"/>
                    </a:moveTo>
                    <a:lnTo>
                      <a:pt x="54" y="1208"/>
                    </a:lnTo>
                    <a:lnTo>
                      <a:pt x="52" y="1208"/>
                    </a:lnTo>
                    <a:close/>
                    <a:moveTo>
                      <a:pt x="59" y="1208"/>
                    </a:moveTo>
                    <a:lnTo>
                      <a:pt x="61" y="1208"/>
                    </a:lnTo>
                    <a:lnTo>
                      <a:pt x="59" y="1208"/>
                    </a:lnTo>
                    <a:close/>
                    <a:moveTo>
                      <a:pt x="10" y="1208"/>
                    </a:moveTo>
                    <a:lnTo>
                      <a:pt x="10" y="1210"/>
                    </a:lnTo>
                    <a:lnTo>
                      <a:pt x="10" y="1208"/>
                    </a:lnTo>
                    <a:close/>
                    <a:moveTo>
                      <a:pt x="10" y="1208"/>
                    </a:moveTo>
                    <a:lnTo>
                      <a:pt x="10" y="1210"/>
                    </a:lnTo>
                    <a:lnTo>
                      <a:pt x="10" y="1208"/>
                    </a:lnTo>
                    <a:close/>
                    <a:moveTo>
                      <a:pt x="54" y="1208"/>
                    </a:moveTo>
                    <a:lnTo>
                      <a:pt x="56" y="1208"/>
                    </a:lnTo>
                    <a:lnTo>
                      <a:pt x="56" y="1211"/>
                    </a:lnTo>
                    <a:lnTo>
                      <a:pt x="54" y="1211"/>
                    </a:lnTo>
                    <a:lnTo>
                      <a:pt x="54" y="1208"/>
                    </a:lnTo>
                    <a:close/>
                    <a:moveTo>
                      <a:pt x="56" y="1210"/>
                    </a:moveTo>
                    <a:lnTo>
                      <a:pt x="57" y="1210"/>
                    </a:lnTo>
                    <a:lnTo>
                      <a:pt x="56" y="1210"/>
                    </a:lnTo>
                    <a:close/>
                    <a:moveTo>
                      <a:pt x="61" y="1210"/>
                    </a:moveTo>
                    <a:lnTo>
                      <a:pt x="62" y="1210"/>
                    </a:lnTo>
                    <a:lnTo>
                      <a:pt x="61" y="1210"/>
                    </a:lnTo>
                    <a:close/>
                    <a:moveTo>
                      <a:pt x="11" y="1210"/>
                    </a:moveTo>
                    <a:lnTo>
                      <a:pt x="11" y="1211"/>
                    </a:lnTo>
                    <a:lnTo>
                      <a:pt x="11" y="1210"/>
                    </a:lnTo>
                    <a:close/>
                    <a:moveTo>
                      <a:pt x="51" y="1210"/>
                    </a:moveTo>
                    <a:lnTo>
                      <a:pt x="51" y="1211"/>
                    </a:lnTo>
                    <a:lnTo>
                      <a:pt x="51" y="1210"/>
                    </a:lnTo>
                    <a:close/>
                    <a:moveTo>
                      <a:pt x="13" y="1211"/>
                    </a:moveTo>
                    <a:lnTo>
                      <a:pt x="15" y="1211"/>
                    </a:lnTo>
                    <a:lnTo>
                      <a:pt x="13" y="1211"/>
                    </a:lnTo>
                    <a:close/>
                    <a:moveTo>
                      <a:pt x="23" y="1211"/>
                    </a:moveTo>
                    <a:lnTo>
                      <a:pt x="25" y="1211"/>
                    </a:lnTo>
                    <a:lnTo>
                      <a:pt x="25" y="1213"/>
                    </a:lnTo>
                    <a:lnTo>
                      <a:pt x="23" y="1213"/>
                    </a:lnTo>
                    <a:lnTo>
                      <a:pt x="23" y="1211"/>
                    </a:lnTo>
                    <a:close/>
                    <a:moveTo>
                      <a:pt x="33" y="1213"/>
                    </a:moveTo>
                    <a:lnTo>
                      <a:pt x="34" y="1213"/>
                    </a:lnTo>
                    <a:lnTo>
                      <a:pt x="33" y="1213"/>
                    </a:lnTo>
                    <a:close/>
                    <a:moveTo>
                      <a:pt x="25" y="1213"/>
                    </a:moveTo>
                    <a:lnTo>
                      <a:pt x="26" y="1213"/>
                    </a:lnTo>
                    <a:lnTo>
                      <a:pt x="25" y="1213"/>
                    </a:lnTo>
                    <a:close/>
                    <a:moveTo>
                      <a:pt x="25" y="1215"/>
                    </a:moveTo>
                    <a:lnTo>
                      <a:pt x="23" y="1213"/>
                    </a:lnTo>
                    <a:lnTo>
                      <a:pt x="21" y="1218"/>
                    </a:lnTo>
                    <a:lnTo>
                      <a:pt x="25" y="1220"/>
                    </a:lnTo>
                    <a:lnTo>
                      <a:pt x="25" y="1215"/>
                    </a:lnTo>
                    <a:close/>
                    <a:moveTo>
                      <a:pt x="41" y="1228"/>
                    </a:moveTo>
                    <a:lnTo>
                      <a:pt x="46" y="1229"/>
                    </a:lnTo>
                    <a:lnTo>
                      <a:pt x="48" y="1228"/>
                    </a:lnTo>
                    <a:lnTo>
                      <a:pt x="48" y="1226"/>
                    </a:lnTo>
                    <a:lnTo>
                      <a:pt x="49" y="1226"/>
                    </a:lnTo>
                    <a:lnTo>
                      <a:pt x="51" y="1223"/>
                    </a:lnTo>
                    <a:lnTo>
                      <a:pt x="49" y="1220"/>
                    </a:lnTo>
                    <a:lnTo>
                      <a:pt x="51" y="1220"/>
                    </a:lnTo>
                    <a:lnTo>
                      <a:pt x="46" y="1218"/>
                    </a:lnTo>
                    <a:lnTo>
                      <a:pt x="46" y="1215"/>
                    </a:lnTo>
                    <a:lnTo>
                      <a:pt x="43" y="1215"/>
                    </a:lnTo>
                    <a:lnTo>
                      <a:pt x="39" y="1216"/>
                    </a:lnTo>
                    <a:lnTo>
                      <a:pt x="38" y="1220"/>
                    </a:lnTo>
                    <a:lnTo>
                      <a:pt x="39" y="1224"/>
                    </a:lnTo>
                    <a:lnTo>
                      <a:pt x="36" y="1226"/>
                    </a:lnTo>
                    <a:lnTo>
                      <a:pt x="36" y="1224"/>
                    </a:lnTo>
                    <a:lnTo>
                      <a:pt x="33" y="1228"/>
                    </a:lnTo>
                    <a:lnTo>
                      <a:pt x="34" y="1231"/>
                    </a:lnTo>
                    <a:lnTo>
                      <a:pt x="36" y="1229"/>
                    </a:lnTo>
                    <a:lnTo>
                      <a:pt x="36" y="1228"/>
                    </a:lnTo>
                    <a:lnTo>
                      <a:pt x="38" y="1228"/>
                    </a:lnTo>
                    <a:lnTo>
                      <a:pt x="39" y="1233"/>
                    </a:lnTo>
                    <a:lnTo>
                      <a:pt x="41" y="1233"/>
                    </a:lnTo>
                    <a:lnTo>
                      <a:pt x="41" y="1228"/>
                    </a:lnTo>
                    <a:close/>
                    <a:moveTo>
                      <a:pt x="11" y="1215"/>
                    </a:moveTo>
                    <a:lnTo>
                      <a:pt x="13" y="1215"/>
                    </a:lnTo>
                    <a:lnTo>
                      <a:pt x="13" y="1216"/>
                    </a:lnTo>
                    <a:lnTo>
                      <a:pt x="11" y="1216"/>
                    </a:lnTo>
                    <a:lnTo>
                      <a:pt x="11" y="1215"/>
                    </a:lnTo>
                    <a:close/>
                    <a:moveTo>
                      <a:pt x="20" y="1216"/>
                    </a:moveTo>
                    <a:lnTo>
                      <a:pt x="21" y="1216"/>
                    </a:lnTo>
                    <a:lnTo>
                      <a:pt x="21" y="1218"/>
                    </a:lnTo>
                    <a:lnTo>
                      <a:pt x="20" y="1218"/>
                    </a:lnTo>
                    <a:lnTo>
                      <a:pt x="20" y="1216"/>
                    </a:lnTo>
                    <a:close/>
                    <a:moveTo>
                      <a:pt x="20" y="1239"/>
                    </a:moveTo>
                    <a:lnTo>
                      <a:pt x="16" y="1234"/>
                    </a:lnTo>
                    <a:lnTo>
                      <a:pt x="15" y="1236"/>
                    </a:lnTo>
                    <a:lnTo>
                      <a:pt x="18" y="1238"/>
                    </a:lnTo>
                    <a:lnTo>
                      <a:pt x="18" y="1239"/>
                    </a:lnTo>
                    <a:lnTo>
                      <a:pt x="20" y="1239"/>
                    </a:lnTo>
                    <a:close/>
                    <a:moveTo>
                      <a:pt x="29" y="1243"/>
                    </a:moveTo>
                    <a:lnTo>
                      <a:pt x="29" y="1238"/>
                    </a:lnTo>
                    <a:lnTo>
                      <a:pt x="33" y="1241"/>
                    </a:lnTo>
                    <a:lnTo>
                      <a:pt x="33" y="1238"/>
                    </a:lnTo>
                    <a:lnTo>
                      <a:pt x="29" y="1236"/>
                    </a:lnTo>
                    <a:lnTo>
                      <a:pt x="29" y="1238"/>
                    </a:lnTo>
                    <a:lnTo>
                      <a:pt x="28" y="1236"/>
                    </a:lnTo>
                    <a:lnTo>
                      <a:pt x="26" y="1238"/>
                    </a:lnTo>
                    <a:lnTo>
                      <a:pt x="26" y="1236"/>
                    </a:lnTo>
                    <a:lnTo>
                      <a:pt x="25" y="1236"/>
                    </a:lnTo>
                    <a:lnTo>
                      <a:pt x="25" y="1238"/>
                    </a:lnTo>
                    <a:lnTo>
                      <a:pt x="23" y="1236"/>
                    </a:lnTo>
                    <a:lnTo>
                      <a:pt x="25" y="1238"/>
                    </a:lnTo>
                    <a:lnTo>
                      <a:pt x="25" y="1241"/>
                    </a:lnTo>
                    <a:lnTo>
                      <a:pt x="26" y="1239"/>
                    </a:lnTo>
                    <a:lnTo>
                      <a:pt x="26" y="1241"/>
                    </a:lnTo>
                    <a:lnTo>
                      <a:pt x="28" y="1244"/>
                    </a:lnTo>
                    <a:lnTo>
                      <a:pt x="29" y="1243"/>
                    </a:lnTo>
                    <a:close/>
                    <a:moveTo>
                      <a:pt x="18" y="1239"/>
                    </a:moveTo>
                    <a:lnTo>
                      <a:pt x="18" y="1241"/>
                    </a:lnTo>
                    <a:lnTo>
                      <a:pt x="18" y="1239"/>
                    </a:lnTo>
                    <a:close/>
                    <a:moveTo>
                      <a:pt x="2" y="1246"/>
                    </a:moveTo>
                    <a:lnTo>
                      <a:pt x="3" y="1246"/>
                    </a:lnTo>
                    <a:lnTo>
                      <a:pt x="2" y="1246"/>
                    </a:lnTo>
                    <a:close/>
                    <a:moveTo>
                      <a:pt x="0" y="1246"/>
                    </a:moveTo>
                    <a:lnTo>
                      <a:pt x="2" y="1246"/>
                    </a:lnTo>
                    <a:lnTo>
                      <a:pt x="2" y="1248"/>
                    </a:lnTo>
                    <a:lnTo>
                      <a:pt x="0" y="1248"/>
                    </a:lnTo>
                    <a:lnTo>
                      <a:pt x="0" y="1246"/>
                    </a:lnTo>
                    <a:close/>
                    <a:moveTo>
                      <a:pt x="18" y="1248"/>
                    </a:moveTo>
                    <a:lnTo>
                      <a:pt x="18" y="1249"/>
                    </a:lnTo>
                    <a:lnTo>
                      <a:pt x="18" y="1248"/>
                    </a:lnTo>
                    <a:close/>
                    <a:moveTo>
                      <a:pt x="6" y="1249"/>
                    </a:moveTo>
                    <a:lnTo>
                      <a:pt x="6" y="1251"/>
                    </a:lnTo>
                    <a:lnTo>
                      <a:pt x="6" y="1249"/>
                    </a:lnTo>
                    <a:close/>
                    <a:moveTo>
                      <a:pt x="6" y="1252"/>
                    </a:moveTo>
                    <a:lnTo>
                      <a:pt x="8" y="1252"/>
                    </a:lnTo>
                    <a:lnTo>
                      <a:pt x="6" y="1252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A6EAFD9C-2675-497A-A04E-C50C04F0D92F}"/>
                </a:ext>
              </a:extLst>
            </p:cNvPr>
            <p:cNvGrpSpPr/>
            <p:nvPr/>
          </p:nvGrpSpPr>
          <p:grpSpPr bwMode="gray">
            <a:xfrm>
              <a:off x="1889125" y="1902896"/>
              <a:ext cx="3360590" cy="3480277"/>
              <a:chOff x="3025775" y="1902892"/>
              <a:chExt cx="3360589" cy="3480281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748D7CFF-77A1-466A-9133-2B31F262AF7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160618" y="1902892"/>
                <a:ext cx="1233711" cy="138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North East and Cumbria</a:t>
                </a:r>
                <a:endParaRPr kumimoji="0" lang="en-GB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8F0AF7D9-BCF1-4AE1-8C07-7E7630774E9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424237" y="2947982"/>
                <a:ext cx="575306" cy="138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North West</a:t>
                </a:r>
                <a:endParaRPr kumimoji="0" lang="en-GB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C98E7DE8-899E-4C21-840B-B8AA05044B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5053" y="2520072"/>
                <a:ext cx="709544" cy="2761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Yorkshire and</a:t>
                </a:r>
                <a:b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</a:b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the Humber</a:t>
                </a:r>
                <a:endParaRPr kumimoji="0" lang="en-GB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3" name="Rectangle 27">
                <a:extLst>
                  <a:ext uri="{FF2B5EF4-FFF2-40B4-BE49-F238E27FC236}">
                    <a16:creationId xmlns:a16="http://schemas.microsoft.com/office/drawing/2014/main" id="{9D8E9892-9222-4A77-9130-3675DAB5B80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45018" y="3523371"/>
                <a:ext cx="722328" cy="138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East Midlands</a:t>
                </a:r>
                <a:endParaRPr kumimoji="0" lang="en-GB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4" name="Rectangle 28">
                <a:extLst>
                  <a:ext uri="{FF2B5EF4-FFF2-40B4-BE49-F238E27FC236}">
                    <a16:creationId xmlns:a16="http://schemas.microsoft.com/office/drawing/2014/main" id="{380EECB5-C676-4D6F-9C2F-F89CBB09F2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030787" y="4146543"/>
                <a:ext cx="811820" cy="138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East of England</a:t>
                </a:r>
                <a:endParaRPr kumimoji="0" lang="en-GB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5" name="Rectangle 29">
                <a:extLst>
                  <a:ext uri="{FF2B5EF4-FFF2-40B4-BE49-F238E27FC236}">
                    <a16:creationId xmlns:a16="http://schemas.microsoft.com/office/drawing/2014/main" id="{15DC02DE-0E11-436A-9960-9B10B8218C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508374" y="3936992"/>
                <a:ext cx="754290" cy="138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West Midlands</a:t>
                </a:r>
                <a:endParaRPr kumimoji="0" lang="en-GB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Rectangle 30">
                <a:extLst>
                  <a:ext uri="{FF2B5EF4-FFF2-40B4-BE49-F238E27FC236}">
                    <a16:creationId xmlns:a16="http://schemas.microsoft.com/office/drawing/2014/main" id="{08F2AAC5-D198-455C-9FE6-6790807CE18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689605" y="4749826"/>
                <a:ext cx="696759" cy="138073"/>
              </a:xfrm>
              <a:prstGeom prst="rect">
                <a:avLst/>
              </a:prstGeom>
              <a:solidFill>
                <a:srgbClr val="002F5C">
                  <a:alpha val="5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North London</a:t>
                </a:r>
              </a:p>
            </p:txBody>
          </p:sp>
          <p:sp>
            <p:nvSpPr>
              <p:cNvPr id="77" name="Rectangle 31">
                <a:extLst>
                  <a:ext uri="{FF2B5EF4-FFF2-40B4-BE49-F238E27FC236}">
                    <a16:creationId xmlns:a16="http://schemas.microsoft.com/office/drawing/2014/main" id="{69986EA7-8765-4F00-8EC2-AD83761C8C9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032375" y="5073639"/>
                <a:ext cx="747897" cy="138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South Thames</a:t>
                </a:r>
              </a:p>
            </p:txBody>
          </p:sp>
          <p:sp>
            <p:nvSpPr>
              <p:cNvPr id="78" name="Rectangle 32">
                <a:extLst>
                  <a:ext uri="{FF2B5EF4-FFF2-40B4-BE49-F238E27FC236}">
                    <a16:creationId xmlns:a16="http://schemas.microsoft.com/office/drawing/2014/main" id="{3703B139-BB0F-41C8-862A-F2ECE02493B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223915" y="4482618"/>
                <a:ext cx="415499" cy="5522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Thames</a:t>
                </a:r>
                <a:b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</a:b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Valley</a:t>
                </a:r>
                <a:b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</a:b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and</a:t>
                </a:r>
                <a:b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</a:b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Wessex</a:t>
                </a:r>
                <a:endParaRPr kumimoji="0" lang="en-GB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Rectangle 33">
                <a:extLst>
                  <a:ext uri="{FF2B5EF4-FFF2-40B4-BE49-F238E27FC236}">
                    <a16:creationId xmlns:a16="http://schemas.microsoft.com/office/drawing/2014/main" id="{CBBFF294-581B-4311-A5C5-05DF1B7E508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025775" y="5245100"/>
                <a:ext cx="594483" cy="138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South West</a:t>
                </a:r>
                <a:endParaRPr kumimoji="0" lang="en-GB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6E765F64-DB97-431C-BC96-4331893F939C}"/>
              </a:ext>
            </a:extLst>
          </p:cNvPr>
          <p:cNvSpPr txBox="1"/>
          <p:nvPr/>
        </p:nvSpPr>
        <p:spPr bwMode="gray">
          <a:xfrm>
            <a:off x="1343781" y="6477723"/>
            <a:ext cx="62138" cy="13080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EB8"/>
              </a:buClr>
              <a:buSzPct val="100000"/>
              <a:buFontTx/>
              <a:buNone/>
              <a:tabLst/>
              <a:defRPr/>
            </a:pPr>
            <a:r>
              <a:rPr kumimoji="0" lang="en-GB" sz="8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B9D0D06-8301-4A96-B8C5-74C0DE62048E}"/>
              </a:ext>
            </a:extLst>
          </p:cNvPr>
          <p:cNvCxnSpPr>
            <a:cxnSpLocks/>
          </p:cNvCxnSpPr>
          <p:nvPr/>
        </p:nvCxnSpPr>
        <p:spPr bwMode="gray">
          <a:xfrm>
            <a:off x="1437901" y="6339223"/>
            <a:ext cx="0" cy="41549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4B7C6E9-7B2F-435B-85F7-36AF0FC3C1EE}"/>
              </a:ext>
            </a:extLst>
          </p:cNvPr>
          <p:cNvCxnSpPr>
            <a:cxnSpLocks/>
            <a:stCxn id="76" idx="1"/>
            <a:endCxn id="86" idx="57"/>
          </p:cNvCxnSpPr>
          <p:nvPr/>
        </p:nvCxnSpPr>
        <p:spPr>
          <a:xfrm flipH="1">
            <a:off x="6928466" y="4983265"/>
            <a:ext cx="697475" cy="45376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D545CC7B-5856-4307-9C7E-76023F40C829}"/>
              </a:ext>
            </a:extLst>
          </p:cNvPr>
          <p:cNvSpPr/>
          <p:nvPr/>
        </p:nvSpPr>
        <p:spPr>
          <a:xfrm>
            <a:off x="8207896" y="6381328"/>
            <a:ext cx="936104" cy="476672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9682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hanges from April 202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457" y="1045846"/>
            <a:ext cx="6322219" cy="4822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37335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93307" y="1639078"/>
            <a:ext cx="8976048" cy="4603102"/>
          </a:xfrm>
        </p:spPr>
        <p:txBody>
          <a:bodyPr>
            <a:normAutofit/>
          </a:bodyPr>
          <a:lstStyle/>
          <a:p>
            <a:r>
              <a:rPr lang="en-GB" sz="1800" dirty="0">
                <a:solidFill>
                  <a:srgbClr val="FF0000"/>
                </a:solidFill>
                <a:latin typeface="Arial"/>
                <a:ea typeface="+mj-ea"/>
                <a:cs typeface="Arial"/>
              </a:rPr>
              <a:t>Specialised services </a:t>
            </a:r>
            <a:r>
              <a:rPr lang="en-GB" sz="1800" dirty="0">
                <a:latin typeface="Arial"/>
                <a:ea typeface="+mj-ea"/>
                <a:cs typeface="Arial"/>
              </a:rPr>
              <a:t>are those provided in relatively few hospitals, accessed by comparatively small numbers of patients but with catchment </a:t>
            </a:r>
            <a:r>
              <a:rPr lang="en-GB" sz="1800" dirty="0">
                <a:solidFill>
                  <a:srgbClr val="FF0000"/>
                </a:solidFill>
                <a:latin typeface="Arial"/>
                <a:ea typeface="+mj-ea"/>
                <a:cs typeface="Arial"/>
              </a:rPr>
              <a:t>populations of usually more than one million</a:t>
            </a:r>
            <a:r>
              <a:rPr lang="en-GB" sz="1800" dirty="0">
                <a:latin typeface="Arial"/>
                <a:ea typeface="+mj-ea"/>
                <a:cs typeface="Arial"/>
              </a:rPr>
              <a:t>. </a:t>
            </a:r>
          </a:p>
          <a:p>
            <a:r>
              <a:rPr lang="en-GB" sz="1800" dirty="0">
                <a:latin typeface="Arial"/>
                <a:ea typeface="+mj-ea"/>
                <a:cs typeface="Arial"/>
              </a:rPr>
              <a:t>These services tend to be located in specialised hospital Trusts that can recruit a team of staff with the appropriate expertise.</a:t>
            </a:r>
          </a:p>
          <a:p>
            <a:r>
              <a:rPr lang="en-GB" sz="1800" dirty="0">
                <a:cs typeface="Arial"/>
              </a:rPr>
              <a:t>Specialised services account for approximately </a:t>
            </a:r>
            <a:r>
              <a:rPr lang="en-GB" sz="1800" dirty="0">
                <a:solidFill>
                  <a:srgbClr val="FF0000"/>
                </a:solidFill>
                <a:cs typeface="Arial"/>
              </a:rPr>
              <a:t>10% of the total NHS budget</a:t>
            </a:r>
            <a:r>
              <a:rPr lang="en-GB" sz="1800" dirty="0">
                <a:cs typeface="Arial"/>
              </a:rPr>
              <a:t> </a:t>
            </a:r>
          </a:p>
          <a:p>
            <a:endParaRPr lang="en-GB" sz="1800" dirty="0">
              <a:cs typeface="Arial"/>
            </a:endParaRPr>
          </a:p>
          <a:p>
            <a:r>
              <a:rPr lang="en-GB" sz="1800" dirty="0">
                <a:solidFill>
                  <a:srgbClr val="FF0000"/>
                </a:solidFill>
                <a:cs typeface="Arial"/>
              </a:rPr>
              <a:t>146 </a:t>
            </a:r>
            <a:r>
              <a:rPr lang="en-GB" sz="1800" dirty="0">
                <a:cs typeface="Arial"/>
              </a:rPr>
              <a:t>different specialised services managed through national, and regional teams supported by Programmes of Care</a:t>
            </a:r>
          </a:p>
          <a:p>
            <a:r>
              <a:rPr lang="en-GB" sz="1800" dirty="0">
                <a:solidFill>
                  <a:srgbClr val="FF0000"/>
                </a:solidFill>
                <a:cs typeface="Arial"/>
              </a:rPr>
              <a:t>300</a:t>
            </a:r>
            <a:r>
              <a:rPr lang="en-GB" sz="1800" dirty="0">
                <a:cs typeface="Arial"/>
              </a:rPr>
              <a:t> plus provider contracts</a:t>
            </a:r>
          </a:p>
          <a:p>
            <a:r>
              <a:rPr lang="en-GB" sz="1800" dirty="0">
                <a:cs typeface="Arial"/>
              </a:rPr>
              <a:t>Commissioned on the basis of geography rather than population</a:t>
            </a:r>
          </a:p>
          <a:p>
            <a:endParaRPr lang="en-GB" sz="1800" dirty="0">
              <a:cs typeface="Arial"/>
            </a:endParaRPr>
          </a:p>
          <a:p>
            <a:r>
              <a:rPr lang="en-GB" sz="1800" dirty="0">
                <a:cs typeface="Arial"/>
              </a:rPr>
              <a:t>Move to ‘</a:t>
            </a:r>
            <a:r>
              <a:rPr lang="en-GB" sz="1800" dirty="0">
                <a:solidFill>
                  <a:srgbClr val="FF0000"/>
                </a:solidFill>
                <a:cs typeface="Arial"/>
              </a:rPr>
              <a:t>bulk contracts</a:t>
            </a:r>
            <a:r>
              <a:rPr lang="en-GB" sz="1800" dirty="0">
                <a:cs typeface="Arial"/>
              </a:rPr>
              <a:t>’ rather than historical ‘</a:t>
            </a:r>
            <a:r>
              <a:rPr lang="en-GB" sz="1800" dirty="0">
                <a:solidFill>
                  <a:srgbClr val="FF0000"/>
                </a:solidFill>
                <a:cs typeface="Arial"/>
              </a:rPr>
              <a:t>payment by result tariffs</a:t>
            </a:r>
            <a:r>
              <a:rPr lang="en-GB" sz="1800" dirty="0">
                <a:cs typeface="Arial"/>
              </a:rPr>
              <a:t>’</a:t>
            </a:r>
          </a:p>
          <a:p>
            <a:endParaRPr lang="en-GB" sz="1800" dirty="0">
              <a:cs typeface="Arial"/>
            </a:endParaRPr>
          </a:p>
          <a:p>
            <a:endParaRPr lang="en-GB" sz="1600" dirty="0">
              <a:latin typeface="Arial"/>
              <a:ea typeface="+mj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416049"/>
            <a:ext cx="7376429" cy="667725"/>
          </a:xfrm>
        </p:spPr>
        <p:txBody>
          <a:bodyPr>
            <a:normAutofit fontScale="90000"/>
          </a:bodyPr>
          <a:lstStyle/>
          <a:p>
            <a:r>
              <a:rPr lang="en-GB" sz="4000" dirty="0">
                <a:solidFill>
                  <a:srgbClr val="0070C0"/>
                </a:solidFill>
              </a:rPr>
              <a:t>Specialised Commission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DE7D0A-5CC0-CD4F-AD63-02ED5F8284D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0436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16049"/>
            <a:ext cx="7814016" cy="667725"/>
          </a:xfrm>
        </p:spPr>
        <p:txBody>
          <a:bodyPr>
            <a:noAutofit/>
          </a:bodyPr>
          <a:lstStyle/>
          <a:p>
            <a:r>
              <a:rPr lang="en-GB" b="1" dirty="0">
                <a:solidFill>
                  <a:srgbClr val="0070C0"/>
                </a:solidFill>
              </a:rPr>
              <a:t>Aim of Specialised Commissio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2735"/>
            <a:ext cx="7841707" cy="3578296"/>
          </a:xfrm>
        </p:spPr>
        <p:txBody>
          <a:bodyPr>
            <a:normAutofit/>
          </a:bodyPr>
          <a:lstStyle/>
          <a:p>
            <a:r>
              <a:rPr lang="en-GB" sz="4000" dirty="0"/>
              <a:t>Improve Access</a:t>
            </a:r>
          </a:p>
          <a:p>
            <a:r>
              <a:rPr lang="en-GB" sz="4000" dirty="0"/>
              <a:t>Improve Equity</a:t>
            </a:r>
          </a:p>
          <a:p>
            <a:r>
              <a:rPr lang="en-GB" sz="4000" dirty="0"/>
              <a:t>Improve Quality</a:t>
            </a:r>
          </a:p>
          <a:p>
            <a:r>
              <a:rPr lang="en-GB" sz="4000" dirty="0"/>
              <a:t>Improve Value</a:t>
            </a:r>
          </a:p>
        </p:txBody>
      </p:sp>
    </p:spTree>
    <p:extLst>
      <p:ext uri="{BB962C8B-B14F-4D97-AF65-F5344CB8AC3E}">
        <p14:creationId xmlns:p14="http://schemas.microsoft.com/office/powerpoint/2010/main" val="1046613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Upp35pQd.dJIESBH4x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N5VPGFT1SWYLPV9vcMYg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005EB8"/>
      </a:dk2>
      <a:lt2>
        <a:srgbClr val="7C2855"/>
      </a:lt2>
      <a:accent1>
        <a:srgbClr val="003087"/>
      </a:accent1>
      <a:accent2>
        <a:srgbClr val="0072CE"/>
      </a:accent2>
      <a:accent3>
        <a:srgbClr val="00A9CE"/>
      </a:accent3>
      <a:accent4>
        <a:srgbClr val="41B6E6"/>
      </a:accent4>
      <a:accent5>
        <a:srgbClr val="425563"/>
      </a:accent5>
      <a:accent6>
        <a:srgbClr val="768692"/>
      </a:accent6>
      <a:hlink>
        <a:srgbClr val="7C2855"/>
      </a:hlink>
      <a:folHlink>
        <a:srgbClr val="7C285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ewDate xmlns="51367701-27c8-403e-a234-85855c5cd73e" xsi:nil="true"/>
    <SubjectArea xmlns="51367701-27c8-403e-a234-85855c5cd73e"/>
    <sub_x0020_topic xmlns="ddfc0607-48e1-4f98-8c6f-3287da82a77f">NHS England PowerPoint template</sub_x0020_topic>
    <Topic xmlns="ddfc0607-48e1-4f98-8c6f-3287da82a77f">NHS England PowerPoint Templates</Topic>
    <FOIClass xmlns="51367701-27c8-403e-a234-85855c5cd73e"/>
    <Classification xmlns="51367701-27c8-403e-a234-85855c5cd73e" xsi:nil="true"/>
    <Directorate xmlns="51367701-27c8-403e-a234-85855c5cd73e" xsi:nil="true"/>
    <Dept xmlns="51367701-27c8-403e-a234-85855c5cd73e" xsi:nil="true"/>
    <NHSOutcomesFrameworkDomain xmlns="51367701-27c8-403e-a234-85855c5cd73e"/>
    <DocumentCategory xmlns="51367701-27c8-403e-a234-85855c5cd73e" xsi:nil="true"/>
    <TaxCatchAll xmlns="cccaf3ac-2de9-44d4-aa31-54302fceb5f7">
      <Value>2164</Value>
    </TaxCatchAll>
    <SecurityClassification xmlns="51367701-27c8-403e-a234-85855c5cd73e" xsi:nil="true"/>
    <Readership_x002f_Audience xmlns="51367701-27c8-403e-a234-85855c5cd73e">All Staff</Readership_x002f_Audience>
    <TaxKeywordTaxHTField xmlns="51367701-27c8-403e-a234-85855c5cd73e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 template</TermName>
          <TermId xmlns="http://schemas.microsoft.com/office/infopath/2007/PartnerControls">7856e9ed-4ffd-42b3-a2c4-c807c79d267a</TermId>
        </TermInfo>
      </Terms>
    </TaxKeywordTaxHTField>
    <DocumentStatus xmlns="51367701-27c8-403e-a234-85855c5cd73e">Final</DocumentStatus>
    <DocumentVersion xmlns="51367701-27c8-403e-a234-85855c5cd73e">0.1</DocumentVersion>
    <DocumentAuthor xmlns="51367701-27c8-403e-a234-85855c5cd73e">
      <UserInfo>
        <DisplayName>Sally McMillan</DisplayName>
        <AccountId>9242</AccountId>
        <AccountType/>
      </UserInfo>
    </DocumentAuthor>
    <_dlc_DocId xmlns="cccaf3ac-2de9-44d4-aa31-54302fceb5f7">K57F673QWXRZ-1160-193</_dlc_DocId>
    <_dlc_DocIdUrl xmlns="cccaf3ac-2de9-44d4-aa31-54302fceb5f7">
      <Url>https://nhsengland.sharepoint.com/TeamCentre/VisionandValues/_layouts/15/DocIdRedir.aspx?ID=K57F673QWXRZ-1160-193</Url>
      <Description>K57F673QWXRZ-1160-193</Description>
    </_dlc_DocIdUrl>
    <SharedWithUsers xmlns="51367701-27c8-403e-a234-85855c5cd73e">
      <UserInfo>
        <DisplayName>Sajjad Sabir</DisplayName>
        <AccountId>14439</AccountId>
        <AccountType/>
      </UserInfo>
      <UserInfo>
        <DisplayName>nathan mulenga</DisplayName>
        <AccountId>18628</AccountId>
        <AccountType/>
      </UserInfo>
      <UserInfo>
        <DisplayName>Chloe Sellwood</DisplayName>
        <AccountId>1169</AccountId>
        <AccountType/>
      </UserInfo>
      <UserInfo>
        <DisplayName>Fadeke Kayode</DisplayName>
        <AccountId>8426</AccountId>
        <AccountType/>
      </UserInfo>
      <UserInfo>
        <DisplayName>Katy Anderton</DisplayName>
        <AccountId>3406</AccountId>
        <AccountType/>
      </UserInfo>
      <UserInfo>
        <DisplayName>Jacqueline White</DisplayName>
        <AccountId>9652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tandard Document" ma:contentTypeID="0x0101009D2CD717CE7D2F4286D7A03A531D5A9C0200AE76E6465EBEB5438FF0151AFBA56FA9" ma:contentTypeVersion="51" ma:contentTypeDescription="Content Type for all the documents with a classification attached" ma:contentTypeScope="" ma:versionID="84d10686d38f03ab4901e9aa0b03b331">
  <xsd:schema xmlns:xsd="http://www.w3.org/2001/XMLSchema" xmlns:xs="http://www.w3.org/2001/XMLSchema" xmlns:p="http://schemas.microsoft.com/office/2006/metadata/properties" xmlns:ns2="51367701-27c8-403e-a234-85855c5cd73e" xmlns:ns4="cccaf3ac-2de9-44d4-aa31-54302fceb5f7" xmlns:ns5="ddfc0607-48e1-4f98-8c6f-3287da82a77f" targetNamespace="http://schemas.microsoft.com/office/2006/metadata/properties" ma:root="true" ma:fieldsID="2f061979e4adc24664a434cd758abecd" ns2:_="" ns4:_="" ns5:_="">
    <xsd:import namespace="51367701-27c8-403e-a234-85855c5cd73e"/>
    <xsd:import namespace="cccaf3ac-2de9-44d4-aa31-54302fceb5f7"/>
    <xsd:import namespace="ddfc0607-48e1-4f98-8c6f-3287da82a77f"/>
    <xsd:element name="properties">
      <xsd:complexType>
        <xsd:sequence>
          <xsd:element name="documentManagement">
            <xsd:complexType>
              <xsd:all>
                <xsd:element ref="ns2:DocumentAuthor"/>
                <xsd:element ref="ns2:Classification" minOccurs="0"/>
                <xsd:element ref="ns2:DocumentCategory" minOccurs="0"/>
                <xsd:element ref="ns2:ReviewDate" minOccurs="0"/>
                <xsd:element ref="ns2:DocumentStatus"/>
                <xsd:element ref="ns2:DocumentVersion"/>
                <xsd:element ref="ns2:Directorate" minOccurs="0"/>
                <xsd:element ref="ns2:Dept" minOccurs="0"/>
                <xsd:element ref="ns2:SecurityClassification" minOccurs="0"/>
                <xsd:element ref="ns2:FOIClass" minOccurs="0"/>
                <xsd:element ref="ns2:Readership_x002f_Audience" minOccurs="0"/>
                <xsd:element ref="ns2:SubjectArea" minOccurs="0"/>
                <xsd:element ref="ns2:NHSOutcomesFrameworkDomain" minOccurs="0"/>
                <xsd:element ref="ns2:TaxKeywordTaxHTField" minOccurs="0"/>
                <xsd:element ref="ns4:TaxCatchAll" minOccurs="0"/>
                <xsd:element ref="ns4:TaxCatchAllLabel" minOccurs="0"/>
                <xsd:element ref="ns4:_dlc_DocId" minOccurs="0"/>
                <xsd:element ref="ns4:_dlc_DocIdUrl" minOccurs="0"/>
                <xsd:element ref="ns4:_dlc_DocIdPersistId" minOccurs="0"/>
                <xsd:element ref="ns2:SharedWithUsers" minOccurs="0"/>
                <xsd:element ref="ns2:SharedWithDetails" minOccurs="0"/>
                <xsd:element ref="ns5:Topic"/>
                <xsd:element ref="ns5:sub_x0020_topic" minOccurs="0"/>
                <xsd:element ref="ns2:LastSharedByUser" minOccurs="0"/>
                <xsd:element ref="ns2:LastSharedByTime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367701-27c8-403e-a234-85855c5cd73e" elementFormDefault="qualified">
    <xsd:import namespace="http://schemas.microsoft.com/office/2006/documentManagement/types"/>
    <xsd:import namespace="http://schemas.microsoft.com/office/infopath/2007/PartnerControls"/>
    <xsd:element name="DocumentAuthor" ma:index="1" ma:displayName="Document Author" ma:list="UserInfo" ma:SharePointGroup="0" ma:internalName="DocumentAutho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assification" ma:index="2" nillable="true" ma:displayName="Classification" ma:description="Classification of the document type" ma:format="Dropdown" ma:internalName="Classification">
      <xsd:simpleType>
        <xsd:restriction base="dms:Choice">
          <xsd:enumeration value="Guidance"/>
          <xsd:enumeration value="Statutory guidance"/>
          <xsd:enumeration value="Standard operating procedure"/>
          <xsd:enumeration value="Case study"/>
          <xsd:enumeration value="Report"/>
          <xsd:enumeration value="Template"/>
          <xsd:enumeration value="Form"/>
          <xsd:enumeration value="Audio / podcast"/>
          <xsd:enumeration value="Video / webcaste event"/>
          <xsd:enumeration value="Webinar"/>
          <xsd:enumeration value="Leaflet"/>
          <xsd:enumeration value="Toolkit"/>
          <xsd:enumeration value="Presentation"/>
          <xsd:enumeration value="Board paper"/>
          <xsd:enumeration value="Minutes"/>
          <xsd:enumeration value="Strategy"/>
          <xsd:enumeration value="Letter"/>
          <xsd:enumeration value="FAQs"/>
          <xsd:enumeration value="Lists / directory"/>
          <xsd:enumeration value="Leaflet"/>
          <xsd:enumeration value="Bulletin / newsletter"/>
        </xsd:restriction>
      </xsd:simpleType>
    </xsd:element>
    <xsd:element name="DocumentCategory" ma:index="5" nillable="true" ma:displayName="Document Category" ma:description="Types of documents available in the organisation" ma:format="Dropdown" ma:internalName="DocumentCategory">
      <xsd:simpleType>
        <xsd:restriction base="dms:Choice">
          <xsd:enumeration value="Report"/>
          <xsd:enumeration value="Protocol"/>
          <xsd:enumeration value="Plan"/>
          <xsd:enumeration value="Strategy"/>
          <xsd:enumeration value="Minutes"/>
          <xsd:enumeration value="Contract"/>
          <xsd:enumeration value="Budget"/>
          <xsd:enumeration value="Project"/>
        </xsd:restriction>
      </xsd:simpleType>
    </xsd:element>
    <xsd:element name="ReviewDate" ma:index="6" nillable="true" ma:displayName="Review Date" ma:format="DateOnly" ma:internalName="ReviewDate">
      <xsd:simpleType>
        <xsd:restriction base="dms:DateTime"/>
      </xsd:simpleType>
    </xsd:element>
    <xsd:element name="DocumentStatus" ma:index="7" ma:displayName="Document Status" ma:default="Pre-draft" ma:description="Status of Document e.g. Draft, Reviewed, Scheduled, Published, Final, Expired and Archived" ma:format="Dropdown" ma:internalName="DocumentStatus" ma:readOnly="false">
      <xsd:simpleType>
        <xsd:restriction base="dms:Choice">
          <xsd:enumeration value="Pre-draft"/>
          <xsd:enumeration value="Draft"/>
          <xsd:enumeration value="Reviewed"/>
          <xsd:enumeration value="Scheduled"/>
          <xsd:enumeration value="Published"/>
          <xsd:enumeration value="Final"/>
          <xsd:enumeration value="Expired"/>
          <xsd:enumeration value="Archived"/>
        </xsd:restriction>
      </xsd:simpleType>
    </xsd:element>
    <xsd:element name="DocumentVersion" ma:index="8" ma:displayName="Document Version" ma:default="0.1" ma:description="Version number of the current document" ma:internalName="DocumentVersion" ma:percentage="FALSE">
      <xsd:simpleType>
        <xsd:restriction base="dms:Number"/>
      </xsd:simpleType>
    </xsd:element>
    <xsd:element name="Directorate" ma:index="9" nillable="true" ma:displayName="Directorate" ma:description="List of all NHS England Directorates" ma:format="Dropdown" ma:internalName="Directorate" ma:readOnly="false">
      <xsd:simpleType>
        <xsd:restriction base="dms:Choice">
          <xsd:enumeration value="Policy"/>
          <xsd:enumeration value="Transformation &amp; Corporate Operations"/>
          <xsd:enumeration value="Patients and Information"/>
          <xsd:enumeration value="Operations"/>
          <xsd:enumeration value="Nursing"/>
          <xsd:enumeration value="Medical"/>
          <xsd:enumeration value="Human Resources"/>
          <xsd:enumeration value="Finance"/>
          <xsd:enumeration value="Commissioning Development"/>
          <xsd:enumeration value="CCG Submitted"/>
          <xsd:enumeration value="CSU Submitted"/>
          <xsd:enumeration value="None NHS England"/>
        </xsd:restriction>
      </xsd:simpleType>
    </xsd:element>
    <xsd:element name="Dept" ma:index="10" nillable="true" ma:displayName="Department/Team" ma:description="Select the originating directorate or department" ma:format="Dropdown" ma:internalName="Dept">
      <xsd:simpleType>
        <xsd:restriction base="dms:Choice">
          <xsd:enumeration value="Clinical Governance Support Unit"/>
          <xsd:enumeration value="Marketing &amp; Communications"/>
          <xsd:enumeration value="Education &amp; Training"/>
          <xsd:enumeration value="Estates"/>
          <xsd:enumeration value="Executive"/>
          <xsd:enumeration value="Facilities"/>
          <xsd:enumeration value="Finance"/>
          <xsd:enumeration value="Health &amp; Safety"/>
          <xsd:enumeration value="Health Records"/>
          <xsd:enumeration value="Human Resources"/>
          <xsd:enumeration value="IM&amp;T"/>
          <xsd:enumeration value="Procurement"/>
          <xsd:enumeration value="Security"/>
        </xsd:restriction>
      </xsd:simpleType>
    </xsd:element>
    <xsd:element name="SecurityClassification" ma:index="12" nillable="true" ma:displayName="Security Classification" ma:internalName="SecurityClassification">
      <xsd:simpleType>
        <xsd:restriction base="dms:Text">
          <xsd:maxLength value="255"/>
        </xsd:restriction>
      </xsd:simpleType>
    </xsd:element>
    <xsd:element name="FOIClass" ma:index="13" nillable="true" ma:displayName="FOI Class" ma:description="List of the seven FOI Classes" ma:internalName="FOIClas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Who we are and what we do"/>
                    <xsd:enumeration value="What we spend and how we spend it"/>
                    <xsd:enumeration value="What our priorities are and how we are doing"/>
                    <xsd:enumeration value="How we make decisions"/>
                    <xsd:enumeration value="Our policies and procedures"/>
                    <xsd:enumeration value="Lists and registers"/>
                    <xsd:enumeration value="The services we offer"/>
                    <xsd:enumeration value="No"/>
                    <xsd:enumeration value="Yes TBC"/>
                  </xsd:restriction>
                </xsd:simpleType>
              </xsd:element>
            </xsd:sequence>
          </xsd:extension>
        </xsd:complexContent>
      </xsd:complexType>
    </xsd:element>
    <xsd:element name="Readership_x002f_Audience" ma:index="14" nillable="true" ma:displayName="Suggested Readership/Audience" ma:default="All Staff" ma:description="Intended audience for the document" ma:format="Dropdown" ma:internalName="Readership_x002F_Audience" ma:readOnly="false">
      <xsd:simpleType>
        <xsd:restriction base="dms:Choice">
          <xsd:enumeration value="All Staff"/>
          <xsd:enumeration value="Consultants and Doctors"/>
          <xsd:enumeration value="Clinical staff"/>
          <xsd:enumeration value="Nursing staff"/>
          <xsd:enumeration value="Support staff"/>
          <xsd:enumeration value="External"/>
          <xsd:enumeration value="CCG Clinical Leaders"/>
          <xsd:enumeration value="CCG Chief Officers"/>
          <xsd:enumeration value="Other CCG members/staff"/>
          <xsd:enumeration value="CSU Managing Directors"/>
          <xsd:enumeration value="Care Trust CEs"/>
          <xsd:enumeration value="Foundation Trust CEs"/>
          <xsd:enumeration value="Medical Directors"/>
          <xsd:enumeration value="Directors of PH"/>
          <xsd:enumeration value="Directors of Nursing"/>
          <xsd:enumeration value="Local Authority CEs"/>
          <xsd:enumeration value="Directors of Adult social services"/>
          <xsd:enumeration value="Clinical reference groups"/>
          <xsd:enumeration value="Patients/public"/>
          <xsd:enumeration value="GPs"/>
          <xsd:enumeration value="Dentists"/>
          <xsd:enumeration value="Optometrists"/>
          <xsd:enumeration value="Nurses"/>
          <xsd:enumeration value="Allied health professionals"/>
          <xsd:enumeration value="NHS Trust Board Chairs"/>
          <xsd:enumeration value="NHS England Area Directors"/>
          <xsd:enumeration value="NHS England Regional Directors"/>
          <xsd:enumeration value="NHS Trust CEs"/>
          <xsd:enumeration value="All NHS England Employees"/>
          <xsd:enumeration value="Other"/>
        </xsd:restriction>
      </xsd:simpleType>
    </xsd:element>
    <xsd:element name="SubjectArea" ma:index="15" nillable="true" ma:displayName="Subject Area" ma:description="Which subjct area is the document relevant to" ma:internalName="SubjectArea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Developing CCGs"/>
                    <xsd:enumeration value="Leadership"/>
                    <xsd:enumeration value="Clinical Leadership"/>
                    <xsd:enumeration value="Specialised Commissioning"/>
                    <xsd:enumeration value="Primary Care Commissioning"/>
                    <xsd:enumeration value="Health and Justice Commissioning"/>
                    <xsd:enumeration value="Armed Forces and their Families Commissioning"/>
                    <xsd:enumeration value="Public Health Commissioning"/>
                    <xsd:enumeration value="Finance"/>
                    <xsd:enumeration value="Pricing and incentives"/>
                    <xsd:enumeration value="Choice, competition and procurement"/>
                    <xsd:enumeration value="Technology"/>
                    <xsd:enumeration value="Innovation"/>
                    <xsd:enumeration value="Information and Data"/>
                    <xsd:enumeration value="Public and patient involvement"/>
                    <xsd:enumeration value="Medicines and prescribing"/>
                    <xsd:enumeration value="Quality Improvement"/>
                    <xsd:enumeration value="Patient Safety"/>
                    <xsd:enumeration value="Screening and immunisation"/>
                    <xsd:enumeration value="Long term conditions"/>
                    <xsd:enumeration value="Maternity, children and young people"/>
                    <xsd:enumeration value="Integrated care"/>
                    <xsd:enumeration value="Emergency and Unplanned care"/>
                    <xsd:enumeration value="End Of Life care"/>
                    <xsd:enumeration value="Older People"/>
                    <xsd:enumeration value="Mental health"/>
                    <xsd:enumeration value="Planned care"/>
                    <xsd:enumeration value="Health inequalities"/>
                    <xsd:enumeration value="Governance / governance structures"/>
                    <xsd:enumeration value="Organisational development"/>
                  </xsd:restriction>
                </xsd:simpleType>
              </xsd:element>
            </xsd:sequence>
          </xsd:extension>
        </xsd:complexContent>
      </xsd:complexType>
    </xsd:element>
    <xsd:element name="NHSOutcomesFrameworkDomain" ma:index="16" nillable="true" ma:displayName="NHS Outcomes Framework Domain" ma:description="Which outcomes framework does the document relate to" ma:internalName="NHSOutcomesFrameworkDomain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1. Preventing people from dying prematurely"/>
                    <xsd:enumeration value="2. Enhancing quality of life for people with long term conditions"/>
                    <xsd:enumeration value="3. Helping people to recover from episodes of ill health or injury"/>
                    <xsd:enumeration value="4. Ensuring that people have a positive experience of care"/>
                    <xsd:enumeration value="5. Treating and caring for people in a safe environment and protecting them from avoidable harm"/>
                  </xsd:restriction>
                </xsd:simpleType>
              </xsd:element>
            </xsd:sequence>
          </xsd:extension>
        </xsd:complexContent>
      </xsd:complexType>
    </xsd:element>
    <xsd:element name="TaxKeywordTaxHTField" ma:index="19" ma:taxonomy="true" ma:internalName="TaxKeywordTaxHTField" ma:taxonomyFieldName="TaxKeyword" ma:displayName="Enterprise Keywords" ma:readOnly="false" ma:fieldId="{23f27201-bee3-471e-b2e7-b64fd8b7ca38}" ma:taxonomyMulti="true" ma:sspId="443b0bdb-28a8-4814-9fb9-624c17c095fc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2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0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33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34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caf3ac-2de9-44d4-aa31-54302fceb5f7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0e57bc44-36d8-4ce3-968d-20dac5a927c3}" ma:internalName="TaxCatchAll" ma:showField="CatchAllData" ma:web="51367701-27c8-403e-a234-85855c5cd7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1" nillable="true" ma:displayName="Taxonomy Catch All Column1" ma:hidden="true" ma:list="{0e57bc44-36d8-4ce3-968d-20dac5a927c3}" ma:internalName="TaxCatchAllLabel" ma:readOnly="true" ma:showField="CatchAllDataLabel" ma:web="51367701-27c8-403e-a234-85855c5cd73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2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8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fc0607-48e1-4f98-8c6f-3287da82a77f" elementFormDefault="qualified">
    <xsd:import namespace="http://schemas.microsoft.com/office/2006/documentManagement/types"/>
    <xsd:import namespace="http://schemas.microsoft.com/office/infopath/2007/PartnerControls"/>
    <xsd:element name="Topic" ma:index="31" ma:displayName="Topic" ma:internalName="Topic">
      <xsd:simpleType>
        <xsd:restriction base="dms:Text">
          <xsd:maxLength value="100"/>
        </xsd:restriction>
      </xsd:simpleType>
    </xsd:element>
    <xsd:element name="sub_x0020_topic" ma:index="32" nillable="true" ma:displayName="sub topic" ma:internalName="sub_x0020_topic">
      <xsd:simpleType>
        <xsd:restriction base="dms:Text">
          <xsd:maxLength value="100"/>
        </xsd:restriction>
      </xsd:simpleType>
    </xsd:element>
    <xsd:element name="MediaServiceMetadata" ma:index="3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36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EventHashCode" ma:index="3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38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inOccurs="0" maxOccurs="1" ma:index="3" ma:displayName="Title"/>
        <xsd:element ref="dc:subject" minOccurs="0" maxOccurs="1" ma:index="4" ma:displayName="Subject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4B0B2573-D70F-46DA-896D-0061F458A7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5C4BEEC-F1D4-45EE-B4D2-7E1AF6A48B54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ddfc0607-48e1-4f98-8c6f-3287da82a77f"/>
    <ds:schemaRef ds:uri="http://purl.org/dc/elements/1.1/"/>
    <ds:schemaRef ds:uri="http://schemas.microsoft.com/office/2006/metadata/properties"/>
    <ds:schemaRef ds:uri="51367701-27c8-403e-a234-85855c5cd73e"/>
    <ds:schemaRef ds:uri="http://schemas.microsoft.com/office/2006/documentManagement/types"/>
    <ds:schemaRef ds:uri="cccaf3ac-2de9-44d4-aa31-54302fceb5f7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6166BD9E-C844-4753-A695-DCCC3D6CF2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367701-27c8-403e-a234-85855c5cd73e"/>
    <ds:schemaRef ds:uri="cccaf3ac-2de9-44d4-aa31-54302fceb5f7"/>
    <ds:schemaRef ds:uri="ddfc0607-48e1-4f98-8c6f-3287da82a7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C987B000-EBF6-4E62-8F83-7031BDB6D989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2</TotalTime>
  <Words>751</Words>
  <Application>Microsoft Macintosh PowerPoint</Application>
  <PresentationFormat>On-screen Show (4:3)</PresentationFormat>
  <Paragraphs>140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NHS - PAEDIATRIC MOVEMENT THERAPY CQUIN </vt:lpstr>
      <vt:lpstr>PowerPoint Presentation</vt:lpstr>
      <vt:lpstr>PowerPoint Presentation</vt:lpstr>
      <vt:lpstr>PowerPoint Presentation</vt:lpstr>
      <vt:lpstr>PowerPoint Presentation</vt:lpstr>
      <vt:lpstr>10 ODNs in NHSE structure – critical care ODNs</vt:lpstr>
      <vt:lpstr>PowerPoint Presentation</vt:lpstr>
      <vt:lpstr>Specialised Commissioning</vt:lpstr>
      <vt:lpstr>Aim of Specialised Commissioning</vt:lpstr>
      <vt:lpstr>Improving Value</vt:lpstr>
      <vt:lpstr>Specialised and Highly Specialised Services</vt:lpstr>
      <vt:lpstr>PowerPoint Presentation</vt:lpstr>
      <vt:lpstr>Central CPIP funding pre 2018</vt:lpstr>
      <vt:lpstr>ACCESS, QUALITY and EQUITY</vt:lpstr>
      <vt:lpstr>QUALITY and EQUITY</vt:lpstr>
      <vt:lpstr>7 NHS regions</vt:lpstr>
      <vt:lpstr>CQUIN development 20-21-22</vt:lpstr>
      <vt:lpstr>Triggers = expectations by NHSe</vt:lpstr>
      <vt:lpstr>PowerPoint Presentation</vt:lpstr>
      <vt:lpstr>PowerPoint Presentation</vt:lpstr>
    </vt:vector>
  </TitlesOfParts>
  <Company>Smith &amp; Milt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vin O'Brien</dc:creator>
  <cp:keywords>powerpoint template</cp:keywords>
  <cp:lastModifiedBy>claire wainford</cp:lastModifiedBy>
  <cp:revision>165</cp:revision>
  <cp:lastPrinted>2018-12-07T09:19:40Z</cp:lastPrinted>
  <dcterms:created xsi:type="dcterms:W3CDTF">2014-04-08T10:27:44Z</dcterms:created>
  <dcterms:modified xsi:type="dcterms:W3CDTF">2021-06-18T07:5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2CD717CE7D2F4286D7A03A531D5A9C0200AE76E6465EBEB5438FF0151AFBA56FA9</vt:lpwstr>
  </property>
  <property fmtid="{D5CDD505-2E9C-101B-9397-08002B2CF9AE}" pid="3" name="_dlc_DocIdItemGuid">
    <vt:lpwstr>d6ba94d6-7b92-4ceb-a362-d5d386408ca3</vt:lpwstr>
  </property>
  <property fmtid="{D5CDD505-2E9C-101B-9397-08002B2CF9AE}" pid="4" name="TaxKeyword">
    <vt:lpwstr>2164;#powerpoint template|7856e9ed-4ffd-42b3-a2c4-c807c79d267a</vt:lpwstr>
  </property>
  <property fmtid="{D5CDD505-2E9C-101B-9397-08002B2CF9AE}" pid="5" name="WinDIP File ID">
    <vt:lpwstr>fad1d05e-5e7c-448d-b451-6d026034911a</vt:lpwstr>
  </property>
</Properties>
</file>